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6" r:id="rId2"/>
  </p:sldMasterIdLst>
  <p:notesMasterIdLst>
    <p:notesMasterId r:id="rId42"/>
  </p:notesMasterIdLst>
  <p:sldIdLst>
    <p:sldId id="341" r:id="rId3"/>
    <p:sldId id="821" r:id="rId4"/>
    <p:sldId id="272" r:id="rId5"/>
    <p:sldId id="823" r:id="rId6"/>
    <p:sldId id="824" r:id="rId7"/>
    <p:sldId id="825" r:id="rId8"/>
    <p:sldId id="826" r:id="rId9"/>
    <p:sldId id="794" r:id="rId10"/>
    <p:sldId id="795" r:id="rId11"/>
    <p:sldId id="801" r:id="rId12"/>
    <p:sldId id="831" r:id="rId13"/>
    <p:sldId id="832" r:id="rId14"/>
    <p:sldId id="833" r:id="rId15"/>
    <p:sldId id="806" r:id="rId16"/>
    <p:sldId id="827" r:id="rId17"/>
    <p:sldId id="804" r:id="rId18"/>
    <p:sldId id="828" r:id="rId19"/>
    <p:sldId id="830" r:id="rId20"/>
    <p:sldId id="810" r:id="rId21"/>
    <p:sldId id="829" r:id="rId22"/>
    <p:sldId id="811" r:id="rId23"/>
    <p:sldId id="812" r:id="rId24"/>
    <p:sldId id="813" r:id="rId25"/>
    <p:sldId id="834" r:id="rId26"/>
    <p:sldId id="816" r:id="rId27"/>
    <p:sldId id="835" r:id="rId28"/>
    <p:sldId id="846" r:id="rId29"/>
    <p:sldId id="847" r:id="rId30"/>
    <p:sldId id="848" r:id="rId31"/>
    <p:sldId id="849" r:id="rId32"/>
    <p:sldId id="836" r:id="rId33"/>
    <p:sldId id="837" r:id="rId34"/>
    <p:sldId id="838" r:id="rId35"/>
    <p:sldId id="839" r:id="rId36"/>
    <p:sldId id="840" r:id="rId37"/>
    <p:sldId id="841" r:id="rId38"/>
    <p:sldId id="842" r:id="rId39"/>
    <p:sldId id="843" r:id="rId40"/>
    <p:sldId id="845" r:id="rId4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0" d="100"/>
          <a:sy n="80" d="100"/>
        </p:scale>
        <p:origin x="880" y="6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296B4B-B07A-4BF0-8A16-C3AF3B0821E7}" type="datetimeFigureOut">
              <a:rPr lang="en-US" smtClean="0"/>
              <a:t>10/29/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BE8649-C2F2-442B-970E-8C0FCC1143D8}" type="slidenum">
              <a:rPr lang="en-US" smtClean="0"/>
              <a:t>‹#›</a:t>
            </a:fld>
            <a:endParaRPr lang="en-US"/>
          </a:p>
        </p:txBody>
      </p:sp>
    </p:spTree>
    <p:extLst>
      <p:ext uri="{BB962C8B-B14F-4D97-AF65-F5344CB8AC3E}">
        <p14:creationId xmlns:p14="http://schemas.microsoft.com/office/powerpoint/2010/main" val="40884985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E42CC4-5743-4295-B6A3-73856DA18255}" type="slidenum">
              <a:rPr lang="en-US" smtClean="0"/>
              <a:t>1</a:t>
            </a:fld>
            <a:endParaRPr lang="en-US" dirty="0"/>
          </a:p>
        </p:txBody>
      </p:sp>
    </p:spTree>
    <p:extLst>
      <p:ext uri="{BB962C8B-B14F-4D97-AF65-F5344CB8AC3E}">
        <p14:creationId xmlns:p14="http://schemas.microsoft.com/office/powerpoint/2010/main" val="24396151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4E84C4"/>
        </a:solidFill>
        <a:effectLst/>
      </p:bgPr>
    </p:bg>
    <p:spTree>
      <p:nvGrpSpPr>
        <p:cNvPr id="1" name=""/>
        <p:cNvGrpSpPr/>
        <p:nvPr/>
      </p:nvGrpSpPr>
      <p:grpSpPr>
        <a:xfrm>
          <a:off x="0" y="0"/>
          <a:ext cx="0" cy="0"/>
          <a:chOff x="0" y="0"/>
          <a:chExt cx="0" cy="0"/>
        </a:xfrm>
      </p:grpSpPr>
      <p:pic>
        <p:nvPicPr>
          <p:cNvPr id="1120258" name="Picture 2" descr="Guidelines ppt_title slide"/>
          <p:cNvPicPr>
            <a:picLocks noChangeAspect="1" noChangeArrowheads="1"/>
          </p:cNvPicPr>
          <p:nvPr/>
        </p:nvPicPr>
        <p:blipFill>
          <a:blip r:embed="rId2">
            <a:extLst>
              <a:ext uri="{28A0092B-C50C-407E-A947-70E740481C1C}">
                <a14:useLocalDpi xmlns:a14="http://schemas.microsoft.com/office/drawing/2010/main" val="0"/>
              </a:ext>
            </a:extLst>
          </a:blip>
          <a:srcRect t="1221" b="1628"/>
          <a:stretch>
            <a:fillRect/>
          </a:stretch>
        </p:blipFill>
        <p:spPr bwMode="auto">
          <a:xfrm>
            <a:off x="0" y="1682750"/>
            <a:ext cx="9144000" cy="2274888"/>
          </a:xfrm>
          <a:prstGeom prst="rect">
            <a:avLst/>
          </a:prstGeom>
          <a:noFill/>
          <a:extLst>
            <a:ext uri="{909E8E84-426E-40DD-AFC4-6F175D3DCCD1}">
              <a14:hiddenFill xmlns:a14="http://schemas.microsoft.com/office/drawing/2010/main">
                <a:solidFill>
                  <a:srgbClr val="FFFFFF"/>
                </a:solidFill>
              </a14:hiddenFill>
            </a:ext>
          </a:extLst>
        </p:spPr>
      </p:pic>
      <p:pic>
        <p:nvPicPr>
          <p:cNvPr id="1120259" name="Picture 3" descr="1"/>
          <p:cNvPicPr>
            <a:picLocks noChangeAspect="1" noChangeArrowheads="1"/>
          </p:cNvPicPr>
          <p:nvPr/>
        </p:nvPicPr>
        <p:blipFill>
          <a:blip r:embed="rId3">
            <a:extLst>
              <a:ext uri="{28A0092B-C50C-407E-A947-70E740481C1C}">
                <a14:useLocalDpi xmlns:a14="http://schemas.microsoft.com/office/drawing/2010/main" val="0"/>
              </a:ext>
            </a:extLst>
          </a:blip>
          <a:srcRect l="1076" t="4210" r="694" b="2948"/>
          <a:stretch>
            <a:fillRect/>
          </a:stretch>
        </p:blipFill>
        <p:spPr bwMode="auto">
          <a:xfrm>
            <a:off x="87313" y="330200"/>
            <a:ext cx="8982075" cy="700088"/>
          </a:xfrm>
          <a:prstGeom prst="rect">
            <a:avLst/>
          </a:prstGeom>
          <a:noFill/>
          <a:extLst>
            <a:ext uri="{909E8E84-426E-40DD-AFC4-6F175D3DCCD1}">
              <a14:hiddenFill xmlns:a14="http://schemas.microsoft.com/office/drawing/2010/main">
                <a:solidFill>
                  <a:srgbClr val="FFFFFF"/>
                </a:solidFill>
              </a14:hiddenFill>
            </a:ext>
          </a:extLst>
        </p:spPr>
      </p:pic>
      <p:sp>
        <p:nvSpPr>
          <p:cNvPr id="1120260" name="Rectangle 4"/>
          <p:cNvSpPr>
            <a:spLocks noGrp="1" noChangeArrowheads="1"/>
          </p:cNvSpPr>
          <p:nvPr>
            <p:ph type="ctrTitle"/>
          </p:nvPr>
        </p:nvSpPr>
        <p:spPr>
          <a:xfrm>
            <a:off x="279400" y="3914775"/>
            <a:ext cx="7772400" cy="541338"/>
          </a:xfrm>
        </p:spPr>
        <p:txBody>
          <a:bodyPr/>
          <a:lstStyle>
            <a:lvl1pPr>
              <a:defRPr sz="3800">
                <a:solidFill>
                  <a:schemeClr val="bg1"/>
                </a:solidFill>
              </a:defRPr>
            </a:lvl1pPr>
          </a:lstStyle>
          <a:p>
            <a:pPr lvl="0"/>
            <a:r>
              <a:rPr lang="en-US" noProof="0"/>
              <a:t>Presentation Title</a:t>
            </a:r>
          </a:p>
        </p:txBody>
      </p:sp>
      <p:sp>
        <p:nvSpPr>
          <p:cNvPr id="1120261" name="Rectangle 5"/>
          <p:cNvSpPr>
            <a:spLocks noGrp="1" noChangeArrowheads="1"/>
          </p:cNvSpPr>
          <p:nvPr>
            <p:ph type="subTitle" idx="1"/>
          </p:nvPr>
        </p:nvSpPr>
        <p:spPr>
          <a:xfrm>
            <a:off x="279400" y="4519613"/>
            <a:ext cx="7620000" cy="558800"/>
          </a:xfrm>
        </p:spPr>
        <p:txBody>
          <a:bodyPr/>
          <a:lstStyle>
            <a:lvl1pPr marL="0" indent="0">
              <a:buFontTx/>
              <a:buNone/>
              <a:defRPr sz="2000">
                <a:solidFill>
                  <a:schemeClr val="bg1"/>
                </a:solidFill>
                <a:latin typeface="Myriad Pro" pitchFamily="34" charset="0"/>
              </a:defRPr>
            </a:lvl1pPr>
          </a:lstStyle>
          <a:p>
            <a:pPr lvl="0"/>
            <a:r>
              <a:rPr lang="en-US" noProof="0"/>
              <a:t>Presentation Sub-title</a:t>
            </a:r>
          </a:p>
        </p:txBody>
      </p:sp>
      <p:sp>
        <p:nvSpPr>
          <p:cNvPr id="1120262" name="Rectangle 6"/>
          <p:cNvSpPr>
            <a:spLocks noGrp="1" noChangeArrowheads="1"/>
          </p:cNvSpPr>
          <p:nvPr>
            <p:ph type="sldNum" sz="quarter" idx="4"/>
          </p:nvPr>
        </p:nvSpPr>
        <p:spPr>
          <a:xfrm>
            <a:off x="279400" y="6342063"/>
            <a:ext cx="2133600" cy="265112"/>
          </a:xfrm>
        </p:spPr>
        <p:txBody>
          <a:bodyPr/>
          <a:lstStyle>
            <a:lvl1pPr algn="l">
              <a:defRPr b="0">
                <a:solidFill>
                  <a:schemeClr val="bg1"/>
                </a:solidFill>
              </a:defRPr>
            </a:lvl1pPr>
          </a:lstStyle>
          <a:p>
            <a:fld id="{4072D8D2-A14C-45A6-8B9D-834766627D2D}" type="datetime3">
              <a:rPr lang="en-US">
                <a:solidFill>
                  <a:srgbClr val="FFFFFF"/>
                </a:solidFill>
              </a:rPr>
              <a:pPr/>
              <a:t>29 October 2023</a:t>
            </a:fld>
            <a:endParaRPr lang="en-US">
              <a:solidFill>
                <a:srgbClr val="FFFFFF"/>
              </a:solidFill>
            </a:endParaRPr>
          </a:p>
        </p:txBody>
      </p:sp>
      <p:sp>
        <p:nvSpPr>
          <p:cNvPr id="1120263" name="Rectangle 7"/>
          <p:cNvSpPr>
            <a:spLocks noGrp="1" noChangeArrowheads="1"/>
          </p:cNvSpPr>
          <p:nvPr>
            <p:ph type="ftr" sz="quarter" idx="3"/>
          </p:nvPr>
        </p:nvSpPr>
        <p:spPr bwMode="auto">
          <a:xfrm>
            <a:off x="3200400" y="6364288"/>
            <a:ext cx="2286000" cy="265112"/>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900" b="0">
                <a:solidFill>
                  <a:schemeClr val="bg1"/>
                </a:solidFill>
                <a:latin typeface="+mj-lt"/>
              </a:defRPr>
            </a:lvl1pPr>
          </a:lstStyle>
          <a:p>
            <a:pPr algn="ctr" fontAlgn="base">
              <a:spcBef>
                <a:spcPct val="0"/>
              </a:spcBef>
              <a:spcAft>
                <a:spcPct val="0"/>
              </a:spcAft>
            </a:pPr>
            <a:r>
              <a:rPr lang="en-US">
                <a:solidFill>
                  <a:srgbClr val="FFFFFF"/>
                </a:solidFill>
              </a:rPr>
              <a:t>Internal and Confidential</a:t>
            </a:r>
          </a:p>
        </p:txBody>
      </p:sp>
      <p:pic>
        <p:nvPicPr>
          <p:cNvPr id="1120264" name="Picture 8" descr="EC"/>
          <p:cNvPicPr>
            <a:picLocks noChangeAspect="1" noChangeArrowheads="1"/>
          </p:cNvPicPr>
          <p:nvPr/>
        </p:nvPicPr>
        <p:blipFill>
          <a:blip r:embed="rId4">
            <a:extLst>
              <a:ext uri="{28A0092B-C50C-407E-A947-70E740481C1C}">
                <a14:useLocalDpi xmlns:a14="http://schemas.microsoft.com/office/drawing/2010/main" val="0"/>
              </a:ext>
            </a:extLst>
          </a:blip>
          <a:srcRect l="1355" t="5624" r="1581" b="3751"/>
          <a:stretch>
            <a:fillRect/>
          </a:stretch>
        </p:blipFill>
        <p:spPr bwMode="auto">
          <a:xfrm>
            <a:off x="6759575" y="6091238"/>
            <a:ext cx="2046288" cy="46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63308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0E469BFC-CA36-4F7C-8EDD-9AC83E3FB1FA}" type="slidenum">
              <a:rPr lang="en-US"/>
              <a:pPr/>
              <a:t>‹#›</a:t>
            </a:fld>
            <a:endParaRPr lang="en-US"/>
          </a:p>
        </p:txBody>
      </p:sp>
    </p:spTree>
    <p:extLst>
      <p:ext uri="{BB962C8B-B14F-4D97-AF65-F5344CB8AC3E}">
        <p14:creationId xmlns:p14="http://schemas.microsoft.com/office/powerpoint/2010/main" val="314189346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52426" y="1665291"/>
            <a:ext cx="7011590" cy="4633910"/>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800"/>
            </a:lvl1pPr>
          </a:lstStyle>
          <a:p>
            <a:r>
              <a:rPr lang="en-US" noProof="0" dirty="0"/>
              <a:t>Click to edit Master title style</a:t>
            </a:r>
          </a:p>
        </p:txBody>
      </p:sp>
    </p:spTree>
    <p:extLst>
      <p:ext uri="{BB962C8B-B14F-4D97-AF65-F5344CB8AC3E}">
        <p14:creationId xmlns:p14="http://schemas.microsoft.com/office/powerpoint/2010/main" val="322807248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203651" y="1700213"/>
            <a:ext cx="4587925" cy="4598988"/>
          </a:xfrm>
        </p:spPr>
        <p:txBody>
          <a:bodyPr/>
          <a:lstStyle/>
          <a:p>
            <a:r>
              <a:rPr lang="en-US" noProof="0" dirty="0"/>
              <a:t>Click icon to add picture</a:t>
            </a:r>
          </a:p>
        </p:txBody>
      </p:sp>
      <p:sp>
        <p:nvSpPr>
          <p:cNvPr id="6" name="Content Placeholder 3"/>
          <p:cNvSpPr>
            <a:spLocks noGrp="1"/>
          </p:cNvSpPr>
          <p:nvPr>
            <p:ph sz="quarter" idx="10"/>
          </p:nvPr>
        </p:nvSpPr>
        <p:spPr>
          <a:xfrm>
            <a:off x="352426" y="1665290"/>
            <a:ext cx="3250247" cy="463391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800"/>
            </a:lvl1pPr>
          </a:lstStyle>
          <a:p>
            <a:r>
              <a:rPr lang="en-US" noProof="0" dirty="0"/>
              <a:t>Click to edit Master title style</a:t>
            </a:r>
          </a:p>
        </p:txBody>
      </p:sp>
    </p:spTree>
    <p:extLst>
      <p:ext uri="{BB962C8B-B14F-4D97-AF65-F5344CB8AC3E}">
        <p14:creationId xmlns:p14="http://schemas.microsoft.com/office/powerpoint/2010/main" val="29674931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800"/>
            </a:lvl1pPr>
          </a:lstStyle>
          <a:p>
            <a:r>
              <a:rPr lang="en-US" noProof="0" dirty="0"/>
              <a:t>Click to edit Master title style</a:t>
            </a:r>
          </a:p>
        </p:txBody>
      </p:sp>
    </p:spTree>
    <p:extLst>
      <p:ext uri="{BB962C8B-B14F-4D97-AF65-F5344CB8AC3E}">
        <p14:creationId xmlns:p14="http://schemas.microsoft.com/office/powerpoint/2010/main" val="345031638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665289"/>
            <a:ext cx="6958012" cy="4716463"/>
          </a:xfrm>
          <a:prstGeom prst="rect">
            <a:avLst/>
          </a:prstGeom>
        </p:spPr>
        <p:txBody>
          <a:bodyPr/>
          <a:lstStyle>
            <a:lvl1pPr marL="0" indent="0" algn="l">
              <a:buFontTx/>
              <a:buNone/>
              <a:tabLst>
                <a:tab pos="5047060" algn="r"/>
              </a:tabLst>
              <a:defRPr b="0"/>
            </a:lvl1pPr>
            <a:lvl2pPr marL="76200" indent="-76200" algn="l">
              <a:buClrTx/>
              <a:buSzPct val="100000"/>
              <a:buFont typeface="Arial" panose="020B0604020202020204" pitchFamily="34" charset="0"/>
              <a:buChar char="•"/>
              <a:tabLst>
                <a:tab pos="5047060" algn="r"/>
              </a:tabLst>
              <a:defRPr b="0"/>
            </a:lvl2pPr>
            <a:lvl3pPr marL="171450" indent="-76200" algn="l">
              <a:buClrTx/>
              <a:buSzPct val="100000"/>
              <a:buFont typeface="Arial" panose="020B0604020202020204" pitchFamily="34" charset="0"/>
              <a:buChar char="−"/>
              <a:tabLst>
                <a:tab pos="5047060" algn="r"/>
              </a:tabLst>
              <a:defRPr b="0"/>
            </a:lvl3pPr>
            <a:lvl4pPr marL="266700" indent="-76200" algn="l">
              <a:buClrTx/>
              <a:buSzPct val="100000"/>
              <a:buFont typeface="Arial" panose="020B0604020202020204" pitchFamily="34" charset="0"/>
              <a:buChar char="◦"/>
              <a:tabLst>
                <a:tab pos="5047060" algn="r"/>
              </a:tabLst>
              <a:defRPr b="0"/>
            </a:lvl4pPr>
            <a:lvl5pPr marL="361950" indent="-76200" algn="l">
              <a:buClrTx/>
              <a:buSzPct val="100000"/>
              <a:buFont typeface="Arial" panose="020B0604020202020204" pitchFamily="34" charset="0"/>
              <a:buChar char="−"/>
              <a:tabLst>
                <a:tab pos="3771900" algn="r"/>
              </a:tabLst>
              <a:defRPr b="0" baseline="0"/>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501"/>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57019607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Splash Logo ">
    <p:spTree>
      <p:nvGrpSpPr>
        <p:cNvPr id="1" name=""/>
        <p:cNvGrpSpPr/>
        <p:nvPr/>
      </p:nvGrpSpPr>
      <p:grpSpPr>
        <a:xfrm>
          <a:off x="0" y="0"/>
          <a:ext cx="0" cy="0"/>
          <a:chOff x="0" y="0"/>
          <a:chExt cx="0" cy="0"/>
        </a:xfrm>
      </p:grpSpPr>
      <p:sp>
        <p:nvSpPr>
          <p:cNvPr id="6" name="Rectangle 5"/>
          <p:cNvSpPr/>
          <p:nvPr userDrawn="1"/>
        </p:nvSpPr>
        <p:spPr bwMode="gray">
          <a:xfrm>
            <a:off x="0" y="0"/>
            <a:ext cx="9144000" cy="6858000"/>
          </a:xfrm>
          <a:prstGeom prst="rect">
            <a:avLst/>
          </a:prstGeom>
          <a:gradFill flip="none" rotWithShape="1">
            <a:gsLst>
              <a:gs pos="100000">
                <a:schemeClr val="bg1">
                  <a:lumMod val="90000"/>
                </a:schemeClr>
              </a:gs>
              <a:gs pos="36000">
                <a:schemeClr val="bg1"/>
              </a:gs>
            </a:gsLst>
            <a:path path="circle">
              <a:fillToRect l="50000" t="50000" r="50000" b="50000"/>
            </a:path>
            <a:tileRect/>
          </a:gra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dirty="0">
              <a:solidFill>
                <a:prstClr val="white"/>
              </a:solidFill>
            </a:endParaRPr>
          </a:p>
        </p:txBody>
      </p:sp>
      <p:sp>
        <p:nvSpPr>
          <p:cNvPr id="14" name="Text Placeholder 3"/>
          <p:cNvSpPr txBox="1">
            <a:spLocks/>
          </p:cNvSpPr>
          <p:nvPr userDrawn="1"/>
        </p:nvSpPr>
        <p:spPr bwMode="gray">
          <a:xfrm>
            <a:off x="365761" y="5513405"/>
            <a:ext cx="8425814" cy="1139264"/>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675"/>
              </a:lnSpc>
            </a:pPr>
            <a:r>
              <a:rPr lang="en-US" sz="525" b="1" dirty="0">
                <a:solidFill>
                  <a:prstClr val="black"/>
                </a:solidFill>
              </a:rPr>
              <a:t>About Deloitte</a:t>
            </a:r>
            <a:br>
              <a:rPr lang="en-US" sz="525" dirty="0">
                <a:solidFill>
                  <a:prstClr val="black"/>
                </a:solidFill>
              </a:rPr>
            </a:br>
            <a:r>
              <a:rPr lang="en-US" sz="525" dirty="0">
                <a:solidFill>
                  <a:prstClr val="black"/>
                </a:solidFill>
              </a:rPr>
              <a:t>Deloitte refers to one or more of Deloitte </a:t>
            </a:r>
            <a:r>
              <a:rPr lang="en-US" sz="525" noProof="1">
                <a:solidFill>
                  <a:prstClr val="black"/>
                </a:solidFill>
              </a:rPr>
              <a:t>Touche</a:t>
            </a:r>
            <a:r>
              <a:rPr lang="en-US" sz="525" dirty="0">
                <a:solidFill>
                  <a:prstClr val="black"/>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525" dirty="0">
                <a:solidFill>
                  <a:prstClr val="black"/>
                </a:solidFill>
                <a:hlinkClick r:id="rId2"/>
              </a:rPr>
              <a:t>www.deloitte.co/about</a:t>
            </a:r>
            <a:r>
              <a:rPr lang="en-US" sz="525" dirty="0">
                <a:solidFill>
                  <a:prstClr val="black"/>
                </a:solidFill>
              </a:rPr>
              <a:t> for a detailed description of DTTL and its Member Firms. Please see </a:t>
            </a:r>
            <a:r>
              <a:rPr lang="en-US" sz="525" dirty="0">
                <a:solidFill>
                  <a:prstClr val="black"/>
                </a:solidFill>
                <a:hlinkClick r:id="rId3"/>
              </a:rPr>
              <a:t>www.deloitte.co/us/about</a:t>
            </a:r>
            <a:r>
              <a:rPr lang="en-US" sz="525" dirty="0">
                <a:solidFill>
                  <a:prstClr val="black"/>
                </a:solidFill>
              </a:rPr>
              <a:t> for a detailed description of the legal structure of Deloitte LLP and its subsidiaries. Certain services may not be available to attest clients under the rules and regulations of public accounting.</a:t>
            </a:r>
            <a:br>
              <a:rPr lang="en-US" sz="525" dirty="0">
                <a:solidFill>
                  <a:prstClr val="black"/>
                </a:solidFill>
              </a:rPr>
            </a:br>
            <a:br>
              <a:rPr lang="en-US" sz="525" dirty="0">
                <a:solidFill>
                  <a:prstClr val="black"/>
                </a:solidFill>
              </a:rPr>
            </a:br>
            <a:r>
              <a:rPr lang="en-US" sz="525" dirty="0">
                <a:solidFill>
                  <a:prstClr val="black"/>
                </a:solidFill>
              </a:rPr>
              <a:t>Copyright © 2017 Deloitte Development LLC. All rights reserved.</a:t>
            </a:r>
          </a:p>
        </p:txBody>
      </p:sp>
      <p:grpSp>
        <p:nvGrpSpPr>
          <p:cNvPr id="30" name="Group 29"/>
          <p:cNvGrpSpPr>
            <a:grpSpLocks noChangeAspect="1"/>
          </p:cNvGrpSpPr>
          <p:nvPr userDrawn="1"/>
        </p:nvGrpSpPr>
        <p:grpSpPr>
          <a:xfrm>
            <a:off x="356494" y="457200"/>
            <a:ext cx="1498500" cy="374400"/>
            <a:chOff x="398463" y="404813"/>
            <a:chExt cx="1627187" cy="307976"/>
          </a:xfrm>
          <a:solidFill>
            <a:schemeClr val="tx1"/>
          </a:solidFill>
        </p:grpSpPr>
        <p:sp>
          <p:nvSpPr>
            <p:cNvPr id="3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prstClr val="white"/>
                </a:solidFill>
              </a:endParaRPr>
            </a:p>
          </p:txBody>
        </p:sp>
        <p:sp>
          <p:nvSpPr>
            <p:cNvPr id="3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prstClr val="white"/>
                </a:solidFill>
              </a:endParaRPr>
            </a:p>
          </p:txBody>
        </p:sp>
        <p:sp>
          <p:nvSpPr>
            <p:cNvPr id="3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prstClr val="white"/>
                </a:solidFill>
              </a:endParaRPr>
            </a:p>
          </p:txBody>
        </p:sp>
        <p:sp>
          <p:nvSpPr>
            <p:cNvPr id="3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prstClr val="white"/>
                </a:solidFill>
              </a:endParaRPr>
            </a:p>
          </p:txBody>
        </p:sp>
        <p:sp>
          <p:nvSpPr>
            <p:cNvPr id="3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prstClr val="white"/>
                </a:solidFill>
              </a:endParaRPr>
            </a:p>
          </p:txBody>
        </p:sp>
        <p:sp>
          <p:nvSpPr>
            <p:cNvPr id="3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prstClr val="white"/>
                </a:solidFill>
              </a:endParaRPr>
            </a:p>
          </p:txBody>
        </p:sp>
        <p:sp>
          <p:nvSpPr>
            <p:cNvPr id="3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prstClr val="white"/>
                </a:solidFill>
              </a:endParaRPr>
            </a:p>
          </p:txBody>
        </p:sp>
        <p:sp>
          <p:nvSpPr>
            <p:cNvPr id="3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prstClr val="white"/>
                </a:solidFill>
              </a:endParaRPr>
            </a:p>
          </p:txBody>
        </p:sp>
        <p:sp>
          <p:nvSpPr>
            <p:cNvPr id="3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prstClr val="white"/>
                </a:solidFill>
              </a:endParaRPr>
            </a:p>
          </p:txBody>
        </p:sp>
        <p:sp>
          <p:nvSpPr>
            <p:cNvPr id="4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prstClr val="white"/>
                </a:solidFill>
              </a:endParaRPr>
            </a:p>
          </p:txBody>
        </p:sp>
      </p:grpSp>
    </p:spTree>
    <p:extLst>
      <p:ext uri="{BB962C8B-B14F-4D97-AF65-F5344CB8AC3E}">
        <p14:creationId xmlns:p14="http://schemas.microsoft.com/office/powerpoint/2010/main" val="67756016"/>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5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356495" y="5845181"/>
            <a:ext cx="4195761" cy="505645"/>
          </a:xfrm>
          <a:prstGeom prst="rect">
            <a:avLst/>
          </a:prstGeom>
        </p:spPr>
        <p:txBody>
          <a:bodyPr lIns="0" tIns="0" rIns="0" bIns="0" anchor="b" anchorCtr="0">
            <a:noAutofit/>
          </a:bodyPr>
          <a:lstStyle>
            <a:lvl1pPr marL="0" indent="0" algn="l">
              <a:lnSpc>
                <a:spcPct val="100000"/>
              </a:lnSpc>
              <a:spcAft>
                <a:spcPts val="0"/>
              </a:spcAft>
              <a:buNone/>
              <a:defRPr sz="1350" b="1">
                <a:solidFill>
                  <a:schemeClr val="tx1"/>
                </a:solidFill>
              </a:defRPr>
            </a:lvl1pPr>
            <a:lvl2pPr marL="0" indent="0" algn="l">
              <a:buNone/>
              <a:defRPr sz="1200" b="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56494" y="6362700"/>
            <a:ext cx="4195762" cy="298451"/>
          </a:xfrm>
          <a:prstGeom prst="rect">
            <a:avLst/>
          </a:prstGeom>
        </p:spPr>
        <p:txBody>
          <a:bodyPr>
            <a:no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356494" y="457200"/>
            <a:ext cx="14985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30" name="Picture Placeholder 8"/>
          <p:cNvSpPr>
            <a:spLocks noGrp="1"/>
          </p:cNvSpPr>
          <p:nvPr>
            <p:ph type="pic" sz="quarter" idx="11"/>
          </p:nvPr>
        </p:nvSpPr>
        <p:spPr>
          <a:xfrm>
            <a:off x="2545287" y="727595"/>
            <a:ext cx="405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31739152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8CE41-0C83-EF4F-954D-2322FA5497FE}"/>
              </a:ext>
            </a:extLst>
          </p:cNvPr>
          <p:cNvSpPr>
            <a:spLocks noGrp="1"/>
          </p:cNvSpPr>
          <p:nvPr>
            <p:ph type="ctrTitle"/>
          </p:nvPr>
        </p:nvSpPr>
        <p:spPr>
          <a:xfrm>
            <a:off x="1143000" y="1122363"/>
            <a:ext cx="6858000" cy="2387600"/>
          </a:xfrm>
        </p:spPr>
        <p:txBody>
          <a:bodyPr anchor="b"/>
          <a:lstStyle>
            <a:lvl1pPr algn="ctr">
              <a:defRPr sz="4500"/>
            </a:lvl1pPr>
          </a:lstStyle>
          <a:p>
            <a:r>
              <a:rPr lang="en-GB"/>
              <a:t>Click to edit Master title style</a:t>
            </a:r>
            <a:endParaRPr lang="en-US"/>
          </a:p>
        </p:txBody>
      </p:sp>
      <p:sp>
        <p:nvSpPr>
          <p:cNvPr id="3" name="Subtitle 2">
            <a:extLst>
              <a:ext uri="{FF2B5EF4-FFF2-40B4-BE49-F238E27FC236}">
                <a16:creationId xmlns:a16="http://schemas.microsoft.com/office/drawing/2014/main" id="{4FC7D202-013A-1E45-9C1D-79E123AF0FB0}"/>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531A88A9-3546-BA43-B87B-36D162148C6D}"/>
              </a:ext>
            </a:extLst>
          </p:cNvPr>
          <p:cNvSpPr>
            <a:spLocks noGrp="1"/>
          </p:cNvSpPr>
          <p:nvPr>
            <p:ph type="dt" sz="half" idx="10"/>
          </p:nvPr>
        </p:nvSpPr>
        <p:spPr/>
        <p:txBody>
          <a:bodyPr/>
          <a:lstStyle/>
          <a:p>
            <a:fld id="{4E9308CB-3F66-CF47-A5F4-26A4EFDBB470}" type="datetimeFigureOut">
              <a:rPr lang="en-US" smtClean="0"/>
              <a:t>10/29/2023</a:t>
            </a:fld>
            <a:endParaRPr lang="en-US"/>
          </a:p>
        </p:txBody>
      </p:sp>
      <p:sp>
        <p:nvSpPr>
          <p:cNvPr id="5" name="Footer Placeholder 4">
            <a:extLst>
              <a:ext uri="{FF2B5EF4-FFF2-40B4-BE49-F238E27FC236}">
                <a16:creationId xmlns:a16="http://schemas.microsoft.com/office/drawing/2014/main" id="{49F55D32-5264-344A-91C2-53B8DB7499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61F3FF-2832-9249-AD5B-ACDAC984CDC2}"/>
              </a:ext>
            </a:extLst>
          </p:cNvPr>
          <p:cNvSpPr>
            <a:spLocks noGrp="1"/>
          </p:cNvSpPr>
          <p:nvPr>
            <p:ph type="sldNum" sz="quarter" idx="12"/>
          </p:nvPr>
        </p:nvSpPr>
        <p:spPr/>
        <p:txBody>
          <a:bodyPr/>
          <a:lstStyle/>
          <a:p>
            <a:fld id="{26E391B9-59C9-6C41-86DA-2C378E7212CA}" type="slidenum">
              <a:rPr lang="en-US" smtClean="0"/>
              <a:t>‹#›</a:t>
            </a:fld>
            <a:endParaRPr lang="en-US"/>
          </a:p>
        </p:txBody>
      </p:sp>
    </p:spTree>
    <p:extLst>
      <p:ext uri="{BB962C8B-B14F-4D97-AF65-F5344CB8AC3E}">
        <p14:creationId xmlns:p14="http://schemas.microsoft.com/office/powerpoint/2010/main" val="30580793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8" y="274638"/>
            <a:ext cx="2109787" cy="5207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42900" y="274638"/>
            <a:ext cx="6180138" cy="5207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FA1CE584-52B0-44CC-9304-11905B8B866E}" type="slidenum">
              <a:rPr lang="en-US"/>
              <a:pPr/>
              <a:t>‹#›</a:t>
            </a:fld>
            <a:endParaRPr lang="en-US"/>
          </a:p>
        </p:txBody>
      </p:sp>
    </p:spTree>
    <p:extLst>
      <p:ext uri="{BB962C8B-B14F-4D97-AF65-F5344CB8AC3E}">
        <p14:creationId xmlns:p14="http://schemas.microsoft.com/office/powerpoint/2010/main" val="3767714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274638"/>
            <a:ext cx="8442325" cy="595312"/>
          </a:xfrm>
        </p:spPr>
        <p:txBody>
          <a:bodyPr/>
          <a:lstStyle/>
          <a:p>
            <a:r>
              <a:rPr lang="en-US"/>
              <a:t>Click to edit Master title style</a:t>
            </a:r>
          </a:p>
        </p:txBody>
      </p:sp>
      <p:sp>
        <p:nvSpPr>
          <p:cNvPr id="3" name="Text Placeholder 2"/>
          <p:cNvSpPr>
            <a:spLocks noGrp="1"/>
          </p:cNvSpPr>
          <p:nvPr>
            <p:ph type="body" sz="half" idx="1"/>
          </p:nvPr>
        </p:nvSpPr>
        <p:spPr>
          <a:xfrm>
            <a:off x="342900" y="955675"/>
            <a:ext cx="4144963"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0263" y="955675"/>
            <a:ext cx="4144962"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8362950" y="6461125"/>
            <a:ext cx="381000" cy="265113"/>
          </a:xfrm>
        </p:spPr>
        <p:txBody>
          <a:bodyPr/>
          <a:lstStyle>
            <a:lvl1pPr>
              <a:defRPr/>
            </a:lvl1pPr>
          </a:lstStyle>
          <a:p>
            <a:fld id="{271B034E-8E01-4EA4-B42C-32C1173D403F}" type="slidenum">
              <a:rPr lang="en-US"/>
              <a:pPr/>
              <a:t>‹#›</a:t>
            </a:fld>
            <a:endParaRPr lang="en-US"/>
          </a:p>
        </p:txBody>
      </p:sp>
    </p:spTree>
    <p:extLst>
      <p:ext uri="{BB962C8B-B14F-4D97-AF65-F5344CB8AC3E}">
        <p14:creationId xmlns:p14="http://schemas.microsoft.com/office/powerpoint/2010/main" val="2800474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274638"/>
            <a:ext cx="8442325" cy="595312"/>
          </a:xfrm>
        </p:spPr>
        <p:txBody>
          <a:bodyPr/>
          <a:lstStyle/>
          <a:p>
            <a:r>
              <a:rPr lang="en-US"/>
              <a:t>Click to edit Master title style</a:t>
            </a:r>
          </a:p>
        </p:txBody>
      </p:sp>
      <p:sp>
        <p:nvSpPr>
          <p:cNvPr id="3" name="Content Placeholder 2"/>
          <p:cNvSpPr>
            <a:spLocks noGrp="1"/>
          </p:cNvSpPr>
          <p:nvPr>
            <p:ph sz="half" idx="1"/>
          </p:nvPr>
        </p:nvSpPr>
        <p:spPr>
          <a:xfrm>
            <a:off x="342900" y="955675"/>
            <a:ext cx="4144963"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0263" y="955675"/>
            <a:ext cx="4144962"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0263" y="3294063"/>
            <a:ext cx="4144962"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362950" y="6461125"/>
            <a:ext cx="381000" cy="265113"/>
          </a:xfrm>
        </p:spPr>
        <p:txBody>
          <a:bodyPr/>
          <a:lstStyle>
            <a:lvl1pPr>
              <a:defRPr/>
            </a:lvl1pPr>
          </a:lstStyle>
          <a:p>
            <a:fld id="{823FF569-5788-4495-B45E-E28DD9EE382F}" type="slidenum">
              <a:rPr lang="en-US"/>
              <a:pPr/>
              <a:t>‹#›</a:t>
            </a:fld>
            <a:endParaRPr lang="en-US"/>
          </a:p>
        </p:txBody>
      </p:sp>
    </p:spTree>
    <p:extLst>
      <p:ext uri="{BB962C8B-B14F-4D97-AF65-F5344CB8AC3E}">
        <p14:creationId xmlns:p14="http://schemas.microsoft.com/office/powerpoint/2010/main" val="780766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356495" y="5845181"/>
            <a:ext cx="4195761" cy="505645"/>
          </a:xfrm>
          <a:prstGeom prst="rect">
            <a:avLst/>
          </a:prstGeom>
        </p:spPr>
        <p:txBody>
          <a:bodyPr lIns="0" tIns="0" rIns="0" bIns="0" anchor="b" anchorCtr="0">
            <a:noAutofit/>
          </a:bodyPr>
          <a:lstStyle>
            <a:lvl1pPr marL="0" indent="0" algn="l">
              <a:lnSpc>
                <a:spcPct val="100000"/>
              </a:lnSpc>
              <a:spcAft>
                <a:spcPts val="0"/>
              </a:spcAft>
              <a:buNone/>
              <a:defRPr sz="1350" b="1">
                <a:solidFill>
                  <a:schemeClr val="tx1"/>
                </a:solidFill>
              </a:defRPr>
            </a:lvl1pPr>
            <a:lvl2pPr marL="0" indent="0" algn="l">
              <a:buNone/>
              <a:defRPr sz="1200" b="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356494" y="6362700"/>
            <a:ext cx="4195762" cy="298451"/>
          </a:xfrm>
          <a:prstGeom prst="rect">
            <a:avLst/>
          </a:prstGeom>
        </p:spPr>
        <p:txBody>
          <a:bodyPr>
            <a:no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356494" y="457200"/>
            <a:ext cx="14985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
        <p:nvSpPr>
          <p:cNvPr id="30" name="Picture Placeholder 8"/>
          <p:cNvSpPr>
            <a:spLocks noGrp="1"/>
          </p:cNvSpPr>
          <p:nvPr>
            <p:ph type="pic" sz="quarter" idx="11"/>
          </p:nvPr>
        </p:nvSpPr>
        <p:spPr>
          <a:xfrm>
            <a:off x="2545287" y="727595"/>
            <a:ext cx="405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89586488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56400" y="5530390"/>
            <a:ext cx="4194009" cy="324000"/>
          </a:xfrm>
        </p:spPr>
        <p:txBody>
          <a:bodyPr anchor="t" anchorCtr="0">
            <a:noAutofit/>
          </a:bodyPr>
          <a:lstStyle>
            <a:lvl1pPr algn="l">
              <a:lnSpc>
                <a:spcPct val="100000"/>
              </a:lnSpc>
              <a:defRPr sz="13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356401" y="5845181"/>
            <a:ext cx="4194008" cy="505645"/>
          </a:xfrm>
          <a:prstGeom prst="rect">
            <a:avLst/>
          </a:prstGeom>
        </p:spPr>
        <p:txBody>
          <a:bodyPr lIns="0" tIns="0" rIns="0" bIns="0">
            <a:noAutofit/>
          </a:bodyPr>
          <a:lstStyle>
            <a:lvl1pPr marL="0" indent="0" algn="l">
              <a:lnSpc>
                <a:spcPct val="100000"/>
              </a:lnSpc>
              <a:spcAft>
                <a:spcPts val="0"/>
              </a:spcAft>
              <a:buNone/>
              <a:defRPr sz="12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56400" y="6362700"/>
            <a:ext cx="4195762" cy="298451"/>
          </a:xfrm>
          <a:prstGeom prst="rect">
            <a:avLst/>
          </a:prstGeom>
        </p:spPr>
        <p:txBody>
          <a:bodyPr/>
          <a:lstStyle>
            <a:lvl1pPr>
              <a:spcAft>
                <a:spcPts val="0"/>
              </a:spcAft>
              <a:defRPr sz="788">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352425" y="457761"/>
            <a:ext cx="14985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
        <p:nvSpPr>
          <p:cNvPr id="33" name="Picture Placeholder 8"/>
          <p:cNvSpPr>
            <a:spLocks noGrp="1"/>
          </p:cNvSpPr>
          <p:nvPr>
            <p:ph type="pic" sz="quarter" idx="11"/>
          </p:nvPr>
        </p:nvSpPr>
        <p:spPr>
          <a:xfrm>
            <a:off x="2545287" y="727595"/>
            <a:ext cx="405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1692805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56494" y="5530390"/>
            <a:ext cx="4195762" cy="324000"/>
          </a:xfrm>
        </p:spPr>
        <p:txBody>
          <a:bodyPr anchor="t" anchorCtr="0">
            <a:noAutofit/>
          </a:bodyPr>
          <a:lstStyle>
            <a:lvl1pPr algn="l">
              <a:lnSpc>
                <a:spcPct val="100000"/>
              </a:lnSpc>
              <a:defRPr sz="13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356495" y="5845181"/>
            <a:ext cx="4195761" cy="505645"/>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56494" y="6362700"/>
            <a:ext cx="4195762" cy="298451"/>
          </a:xfrm>
          <a:prstGeom prst="rect">
            <a:avLst/>
          </a:prstGeom>
        </p:spPr>
        <p:txBody>
          <a:bodyPr>
            <a:norm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356494" y="457200"/>
            <a:ext cx="14985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
        <p:nvSpPr>
          <p:cNvPr id="30" name="Picture Placeholder 8"/>
          <p:cNvSpPr>
            <a:spLocks noGrp="1"/>
          </p:cNvSpPr>
          <p:nvPr>
            <p:ph type="pic" sz="quarter" idx="11"/>
          </p:nvPr>
        </p:nvSpPr>
        <p:spPr>
          <a:xfrm>
            <a:off x="2545287" y="727595"/>
            <a:ext cx="405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55661314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157612" y="1530450"/>
            <a:ext cx="2835000" cy="3780000"/>
          </a:xfrm>
          <a:prstGeom prst="ellipse">
            <a:avLst/>
          </a:prstGeom>
          <a:ln w="25400">
            <a:solidFill>
              <a:schemeClr val="accent1"/>
            </a:solidFill>
          </a:ln>
        </p:spPr>
        <p:txBody>
          <a:bodyPr lIns="108000" tIns="108000" rIns="108000" bIns="108000" anchor="ctr" anchorCtr="0">
            <a:normAutofit/>
          </a:bodyPr>
          <a:lstStyle>
            <a:lvl1pPr algn="ctr">
              <a:lnSpc>
                <a:spcPts val="2850"/>
              </a:lnSpc>
              <a:defRPr sz="2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356401" y="5845181"/>
            <a:ext cx="4194008" cy="505645"/>
          </a:xfrm>
          <a:prstGeom prst="rect">
            <a:avLst/>
          </a:prstGeom>
        </p:spPr>
        <p:txBody>
          <a:bodyPr lIns="0" tIns="0" rIns="0" bIns="0">
            <a:noAutofit/>
          </a:bodyPr>
          <a:lstStyle>
            <a:lvl1pPr marL="0" indent="0" algn="l">
              <a:lnSpc>
                <a:spcPct val="100000"/>
              </a:lnSpc>
              <a:spcAft>
                <a:spcPts val="0"/>
              </a:spcAft>
              <a:buNone/>
              <a:defRPr sz="12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56400" y="6362700"/>
            <a:ext cx="4195762" cy="298451"/>
          </a:xfrm>
          <a:prstGeom prst="rect">
            <a:avLst/>
          </a:prstGeom>
        </p:spPr>
        <p:txBody>
          <a:bodyPr/>
          <a:lstStyle>
            <a:lvl1pPr>
              <a:spcAft>
                <a:spcPts val="0"/>
              </a:spcAft>
              <a:defRPr sz="788">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352425" y="457761"/>
            <a:ext cx="14985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Tree>
    <p:extLst>
      <p:ext uri="{BB962C8B-B14F-4D97-AF65-F5344CB8AC3E}">
        <p14:creationId xmlns:p14="http://schemas.microsoft.com/office/powerpoint/2010/main" val="39177220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159000" y="1530000"/>
            <a:ext cx="2835000" cy="3780000"/>
          </a:xfrm>
          <a:prstGeom prst="ellipse">
            <a:avLst/>
          </a:prstGeom>
          <a:ln w="25400">
            <a:solidFill>
              <a:schemeClr val="accent1"/>
            </a:solidFill>
          </a:ln>
        </p:spPr>
        <p:txBody>
          <a:bodyPr lIns="108000" tIns="108000" rIns="108000" bIns="108000" anchor="ctr" anchorCtr="0">
            <a:normAutofit/>
          </a:bodyPr>
          <a:lstStyle>
            <a:lvl1pPr algn="ctr">
              <a:lnSpc>
                <a:spcPts val="2850"/>
              </a:lnSpc>
              <a:defRPr sz="24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356495" y="5845181"/>
            <a:ext cx="4195761" cy="505645"/>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56494" y="6362700"/>
            <a:ext cx="4195762" cy="298451"/>
          </a:xfrm>
          <a:prstGeom prst="rect">
            <a:avLst/>
          </a:prstGeom>
        </p:spPr>
        <p:txBody>
          <a:bodyPr>
            <a:norm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356494" y="457200"/>
            <a:ext cx="14985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Tree>
    <p:extLst>
      <p:ext uri="{BB962C8B-B14F-4D97-AF65-F5344CB8AC3E}">
        <p14:creationId xmlns:p14="http://schemas.microsoft.com/office/powerpoint/2010/main" val="282625421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5" y="1700214"/>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52425" y="3423545"/>
            <a:ext cx="7813676"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2" name="TextBox 11"/>
          <p:cNvSpPr txBox="1"/>
          <p:nvPr/>
        </p:nvSpPr>
        <p:spPr>
          <a:xfrm>
            <a:off x="4368800" y="647700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Resource</a:t>
            </a:r>
            <a:r>
              <a:rPr lang="en-US" sz="488" baseline="0" noProof="0" dirty="0">
                <a:solidFill>
                  <a:schemeClr val="bg1"/>
                </a:solidFill>
              </a:rPr>
              <a:t> Management</a:t>
            </a:r>
            <a:r>
              <a:rPr lang="en-US" sz="488" noProof="0" dirty="0">
                <a:solidFill>
                  <a:schemeClr val="bg1"/>
                </a:solidFill>
              </a:rPr>
              <a:t> Operating Model</a:t>
            </a:r>
          </a:p>
        </p:txBody>
      </p:sp>
      <p:sp>
        <p:nvSpPr>
          <p:cNvPr id="13" name="TextBox 12"/>
          <p:cNvSpPr txBox="1"/>
          <p:nvPr/>
        </p:nvSpPr>
        <p:spPr>
          <a:xfrm>
            <a:off x="352426" y="6477001"/>
            <a:ext cx="4016375" cy="75085"/>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Copyright © 2018 Deloitte Development LLC. All rights reserved.</a:t>
            </a:r>
          </a:p>
        </p:txBody>
      </p:sp>
      <p:sp>
        <p:nvSpPr>
          <p:cNvPr id="14" name="TextBox 13"/>
          <p:cNvSpPr txBox="1"/>
          <p:nvPr/>
        </p:nvSpPr>
        <p:spPr>
          <a:xfrm>
            <a:off x="8560594"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a:solidFill>
                <a:schemeClr val="bg1"/>
              </a:solidFill>
            </a:endParaRPr>
          </a:p>
        </p:txBody>
      </p:sp>
    </p:spTree>
    <p:extLst>
      <p:ext uri="{BB962C8B-B14F-4D97-AF65-F5344CB8AC3E}">
        <p14:creationId xmlns:p14="http://schemas.microsoft.com/office/powerpoint/2010/main" val="24271343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8791CEDE-D602-4DA0-91C4-57C7E6EE2E4C}" type="slidenum">
              <a:rPr lang="en-US"/>
              <a:pPr/>
              <a:t>‹#›</a:t>
            </a:fld>
            <a:endParaRPr lang="en-US"/>
          </a:p>
        </p:txBody>
      </p:sp>
    </p:spTree>
    <p:extLst>
      <p:ext uri="{BB962C8B-B14F-4D97-AF65-F5344CB8AC3E}">
        <p14:creationId xmlns:p14="http://schemas.microsoft.com/office/powerpoint/2010/main" val="33928453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TextBox 19"/>
          <p:cNvSpPr txBox="1"/>
          <p:nvPr/>
        </p:nvSpPr>
        <p:spPr>
          <a:xfrm>
            <a:off x="4368800" y="647700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Resource</a:t>
            </a:r>
            <a:r>
              <a:rPr lang="en-US" sz="488" baseline="0" noProof="0" dirty="0">
                <a:solidFill>
                  <a:schemeClr val="bg1"/>
                </a:solidFill>
              </a:rPr>
              <a:t> Management</a:t>
            </a:r>
            <a:r>
              <a:rPr lang="en-US" sz="488" noProof="0" dirty="0">
                <a:solidFill>
                  <a:schemeClr val="bg1"/>
                </a:solidFill>
              </a:rPr>
              <a:t> Operating</a:t>
            </a:r>
            <a:r>
              <a:rPr lang="en-US" sz="488" baseline="0" noProof="0" dirty="0">
                <a:solidFill>
                  <a:schemeClr val="bg1"/>
                </a:solidFill>
              </a:rPr>
              <a:t> Model</a:t>
            </a:r>
            <a:endParaRPr lang="en-US" sz="488" noProof="0" dirty="0">
              <a:solidFill>
                <a:schemeClr val="bg1"/>
              </a:solidFill>
            </a:endParaRPr>
          </a:p>
        </p:txBody>
      </p:sp>
      <p:sp>
        <p:nvSpPr>
          <p:cNvPr id="21" name="TextBox 20"/>
          <p:cNvSpPr txBox="1"/>
          <p:nvPr/>
        </p:nvSpPr>
        <p:spPr>
          <a:xfrm>
            <a:off x="352426" y="6477001"/>
            <a:ext cx="4016375" cy="75085"/>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a:solidFill>
                  <a:schemeClr val="bg1"/>
                </a:solidFill>
              </a:rPr>
              <a:t>Copyright © 2018 Deloitte Development LLC. All rights reserved.</a:t>
            </a:r>
          </a:p>
        </p:txBody>
      </p:sp>
      <p:sp>
        <p:nvSpPr>
          <p:cNvPr id="22" name="TextBox 21"/>
          <p:cNvSpPr txBox="1"/>
          <p:nvPr/>
        </p:nvSpPr>
        <p:spPr>
          <a:xfrm>
            <a:off x="8560594"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a:solidFill>
                <a:schemeClr val="bg1"/>
              </a:solidFill>
            </a:endParaRPr>
          </a:p>
        </p:txBody>
      </p:sp>
    </p:spTree>
    <p:extLst>
      <p:ext uri="{BB962C8B-B14F-4D97-AF65-F5344CB8AC3E}">
        <p14:creationId xmlns:p14="http://schemas.microsoft.com/office/powerpoint/2010/main" val="6498213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TextBox 6"/>
          <p:cNvSpPr txBox="1"/>
          <p:nvPr/>
        </p:nvSpPr>
        <p:spPr>
          <a:xfrm>
            <a:off x="4368800" y="6477001"/>
            <a:ext cx="367242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a:solidFill>
                  <a:schemeClr val="bg1"/>
                </a:solidFill>
              </a:rPr>
              <a:t>Presentation title</a:t>
            </a:r>
            <a:br>
              <a:rPr lang="en-US" sz="488" noProof="0">
                <a:solidFill>
                  <a:schemeClr val="bg1"/>
                </a:solidFill>
              </a:rPr>
            </a:br>
            <a:r>
              <a:rPr lang="en-US" sz="488" noProof="0">
                <a:solidFill>
                  <a:schemeClr val="bg1"/>
                </a:solidFill>
              </a:rPr>
              <a:t>[To edit, click View &gt; Slide Master &gt; Slide Master]</a:t>
            </a:r>
          </a:p>
        </p:txBody>
      </p:sp>
      <p:sp>
        <p:nvSpPr>
          <p:cNvPr id="8" name="TextBox 7"/>
          <p:cNvSpPr txBox="1"/>
          <p:nvPr/>
        </p:nvSpPr>
        <p:spPr>
          <a:xfrm>
            <a:off x="352426" y="6477001"/>
            <a:ext cx="4016375"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a:solidFill>
                  <a:schemeClr val="bg1"/>
                </a:solidFill>
              </a:rPr>
              <a:t>Member firms and DTTL: Insert appropriate copyright</a:t>
            </a:r>
            <a:br>
              <a:rPr lang="en-US" sz="488" noProof="0">
                <a:solidFill>
                  <a:schemeClr val="bg1"/>
                </a:solidFill>
              </a:rPr>
            </a:br>
            <a:r>
              <a:rPr lang="en-US" sz="488" noProof="0">
                <a:solidFill>
                  <a:schemeClr val="bg1"/>
                </a:solidFill>
              </a:rPr>
              <a:t>[To edit, click View &gt; Slide Master &gt; Slide Master]</a:t>
            </a:r>
          </a:p>
        </p:txBody>
      </p:sp>
      <p:sp>
        <p:nvSpPr>
          <p:cNvPr id="9" name="TextBox 8"/>
          <p:cNvSpPr txBox="1"/>
          <p:nvPr/>
        </p:nvSpPr>
        <p:spPr>
          <a:xfrm>
            <a:off x="8560594"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a:solidFill>
                <a:schemeClr val="bg1"/>
              </a:solidFill>
            </a:endParaRPr>
          </a:p>
        </p:txBody>
      </p:sp>
    </p:spTree>
    <p:extLst>
      <p:ext uri="{BB962C8B-B14F-4D97-AF65-F5344CB8AC3E}">
        <p14:creationId xmlns:p14="http://schemas.microsoft.com/office/powerpoint/2010/main" val="252329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TextBox 19"/>
          <p:cNvSpPr txBox="1"/>
          <p:nvPr/>
        </p:nvSpPr>
        <p:spPr>
          <a:xfrm>
            <a:off x="4368800" y="6477001"/>
            <a:ext cx="367242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a:solidFill>
                  <a:schemeClr val="bg1"/>
                </a:solidFill>
              </a:rPr>
              <a:t>Presentation title</a:t>
            </a:r>
            <a:br>
              <a:rPr lang="en-US" sz="488" noProof="0">
                <a:solidFill>
                  <a:schemeClr val="bg1"/>
                </a:solidFill>
              </a:rPr>
            </a:br>
            <a:r>
              <a:rPr lang="en-US" sz="488" noProof="0">
                <a:solidFill>
                  <a:schemeClr val="bg1"/>
                </a:solidFill>
              </a:rPr>
              <a:t>[To edit, click View &gt; Slide Master &gt; Slide Master]</a:t>
            </a:r>
          </a:p>
        </p:txBody>
      </p:sp>
      <p:sp>
        <p:nvSpPr>
          <p:cNvPr id="21" name="TextBox 20"/>
          <p:cNvSpPr txBox="1"/>
          <p:nvPr/>
        </p:nvSpPr>
        <p:spPr>
          <a:xfrm>
            <a:off x="352426" y="6477001"/>
            <a:ext cx="4016375"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a:solidFill>
                  <a:schemeClr val="bg1"/>
                </a:solidFill>
              </a:rPr>
              <a:t>Member firms and DTTL: Insert appropriate copyright</a:t>
            </a:r>
            <a:br>
              <a:rPr lang="en-US" sz="488" noProof="0">
                <a:solidFill>
                  <a:schemeClr val="bg1"/>
                </a:solidFill>
              </a:rPr>
            </a:br>
            <a:r>
              <a:rPr lang="en-US" sz="488" noProof="0">
                <a:solidFill>
                  <a:schemeClr val="bg1"/>
                </a:solidFill>
              </a:rPr>
              <a:t>[To edit, click View &gt; Slide Master &gt; Slide Master]</a:t>
            </a:r>
          </a:p>
        </p:txBody>
      </p:sp>
      <p:sp>
        <p:nvSpPr>
          <p:cNvPr id="22" name="TextBox 21"/>
          <p:cNvSpPr txBox="1"/>
          <p:nvPr/>
        </p:nvSpPr>
        <p:spPr>
          <a:xfrm>
            <a:off x="8560594"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a:solidFill>
                <a:schemeClr val="bg1"/>
              </a:solidFill>
            </a:endParaRPr>
          </a:p>
        </p:txBody>
      </p:sp>
    </p:spTree>
    <p:extLst>
      <p:ext uri="{BB962C8B-B14F-4D97-AF65-F5344CB8AC3E}">
        <p14:creationId xmlns:p14="http://schemas.microsoft.com/office/powerpoint/2010/main" val="17236077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TextBox 19"/>
          <p:cNvSpPr txBox="1"/>
          <p:nvPr/>
        </p:nvSpPr>
        <p:spPr>
          <a:xfrm>
            <a:off x="4368800" y="647700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Resource Management Operating Model</a:t>
            </a:r>
          </a:p>
        </p:txBody>
      </p:sp>
      <p:sp>
        <p:nvSpPr>
          <p:cNvPr id="21" name="TextBox 20"/>
          <p:cNvSpPr txBox="1"/>
          <p:nvPr userDrawn="1"/>
        </p:nvSpPr>
        <p:spPr>
          <a:xfrm>
            <a:off x="352426" y="6477001"/>
            <a:ext cx="4016375" cy="75085"/>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Copyright © 2018 Deloitte Development LLC. All rights reserved.</a:t>
            </a:r>
          </a:p>
        </p:txBody>
      </p:sp>
      <p:sp>
        <p:nvSpPr>
          <p:cNvPr id="22" name="TextBox 21"/>
          <p:cNvSpPr txBox="1"/>
          <p:nvPr/>
        </p:nvSpPr>
        <p:spPr>
          <a:xfrm>
            <a:off x="8560594"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a:solidFill>
                <a:schemeClr val="bg1"/>
              </a:solidFill>
            </a:endParaRPr>
          </a:p>
        </p:txBody>
      </p:sp>
    </p:spTree>
    <p:extLst>
      <p:ext uri="{BB962C8B-B14F-4D97-AF65-F5344CB8AC3E}">
        <p14:creationId xmlns:p14="http://schemas.microsoft.com/office/powerpoint/2010/main" val="1965093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6" y="1705669"/>
            <a:ext cx="7813675" cy="1592403"/>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52425" y="3429000"/>
            <a:ext cx="7905750" cy="1566532"/>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526869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0363" y="1590676"/>
            <a:ext cx="6772203"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TextBox 8"/>
          <p:cNvSpPr txBox="1"/>
          <p:nvPr/>
        </p:nvSpPr>
        <p:spPr>
          <a:xfrm>
            <a:off x="4368800" y="6477001"/>
            <a:ext cx="367242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a:solidFill>
                  <a:schemeClr val="bg1"/>
                </a:solidFill>
              </a:rPr>
              <a:t>Presentation title</a:t>
            </a:r>
            <a:br>
              <a:rPr lang="en-US" sz="488" noProof="0">
                <a:solidFill>
                  <a:schemeClr val="bg1"/>
                </a:solidFill>
              </a:rPr>
            </a:br>
            <a:r>
              <a:rPr lang="en-US" sz="488" noProof="0">
                <a:solidFill>
                  <a:schemeClr val="bg1"/>
                </a:solidFill>
              </a:rPr>
              <a:t>[To edit, click View &gt; Slide Master &gt; Slide Master]</a:t>
            </a:r>
          </a:p>
        </p:txBody>
      </p:sp>
      <p:sp>
        <p:nvSpPr>
          <p:cNvPr id="13" name="TextBox 12"/>
          <p:cNvSpPr txBox="1"/>
          <p:nvPr/>
        </p:nvSpPr>
        <p:spPr>
          <a:xfrm>
            <a:off x="352426" y="6477001"/>
            <a:ext cx="4016375"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a:solidFill>
                  <a:schemeClr val="bg1"/>
                </a:solidFill>
              </a:rPr>
              <a:t>Member firms and DTTL: Insert appropriate copyright</a:t>
            </a:r>
            <a:br>
              <a:rPr lang="en-US" sz="488" noProof="0">
                <a:solidFill>
                  <a:schemeClr val="bg1"/>
                </a:solidFill>
              </a:rPr>
            </a:br>
            <a:r>
              <a:rPr lang="en-US" sz="488" noProof="0">
                <a:solidFill>
                  <a:schemeClr val="bg1"/>
                </a:solidFill>
              </a:rPr>
              <a:t>[To edit, click View &gt; Slide Master &gt; Slide Master]</a:t>
            </a:r>
          </a:p>
        </p:txBody>
      </p:sp>
      <p:sp>
        <p:nvSpPr>
          <p:cNvPr id="14" name="TextBox 13"/>
          <p:cNvSpPr txBox="1"/>
          <p:nvPr/>
        </p:nvSpPr>
        <p:spPr>
          <a:xfrm>
            <a:off x="8560594"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a:solidFill>
                <a:schemeClr val="bg1"/>
              </a:solidFill>
            </a:endParaRPr>
          </a:p>
        </p:txBody>
      </p:sp>
    </p:spTree>
    <p:extLst>
      <p:ext uri="{BB962C8B-B14F-4D97-AF65-F5344CB8AC3E}">
        <p14:creationId xmlns:p14="http://schemas.microsoft.com/office/powerpoint/2010/main" val="45575368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360363" y="1590676"/>
            <a:ext cx="6772203"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4" name="TextBox 13"/>
          <p:cNvSpPr txBox="1"/>
          <p:nvPr/>
        </p:nvSpPr>
        <p:spPr>
          <a:xfrm>
            <a:off x="4368800" y="6477001"/>
            <a:ext cx="367242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a:solidFill>
                  <a:schemeClr val="bg1"/>
                </a:solidFill>
              </a:rPr>
              <a:t>Presentation title</a:t>
            </a:r>
            <a:br>
              <a:rPr lang="en-US" sz="488" noProof="0">
                <a:solidFill>
                  <a:schemeClr val="bg1"/>
                </a:solidFill>
              </a:rPr>
            </a:br>
            <a:r>
              <a:rPr lang="en-US" sz="488" noProof="0">
                <a:solidFill>
                  <a:schemeClr val="bg1"/>
                </a:solidFill>
              </a:rPr>
              <a:t>[To edit, click View &gt; Slide Master &gt; Slide Master]</a:t>
            </a:r>
          </a:p>
        </p:txBody>
      </p:sp>
      <p:sp>
        <p:nvSpPr>
          <p:cNvPr id="15" name="TextBox 14"/>
          <p:cNvSpPr txBox="1"/>
          <p:nvPr/>
        </p:nvSpPr>
        <p:spPr>
          <a:xfrm>
            <a:off x="352426" y="6477001"/>
            <a:ext cx="4016375"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a:solidFill>
                  <a:schemeClr val="bg1"/>
                </a:solidFill>
              </a:rPr>
              <a:t>Member firms and DTTL: Insert appropriate copyright</a:t>
            </a:r>
            <a:br>
              <a:rPr lang="en-US" sz="488" noProof="0">
                <a:solidFill>
                  <a:schemeClr val="bg1"/>
                </a:solidFill>
              </a:rPr>
            </a:br>
            <a:r>
              <a:rPr lang="en-US" sz="488" noProof="0">
                <a:solidFill>
                  <a:schemeClr val="bg1"/>
                </a:solidFill>
              </a:rPr>
              <a:t>[To edit, click View &gt; Slide Master &gt; Slide Master]</a:t>
            </a:r>
          </a:p>
        </p:txBody>
      </p:sp>
      <p:sp>
        <p:nvSpPr>
          <p:cNvPr id="16" name="TextBox 15"/>
          <p:cNvSpPr txBox="1"/>
          <p:nvPr/>
        </p:nvSpPr>
        <p:spPr>
          <a:xfrm>
            <a:off x="8560594"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a:solidFill>
                <a:schemeClr val="bg1"/>
              </a:solidFill>
            </a:endParaRPr>
          </a:p>
        </p:txBody>
      </p:sp>
    </p:spTree>
    <p:extLst>
      <p:ext uri="{BB962C8B-B14F-4D97-AF65-F5344CB8AC3E}">
        <p14:creationId xmlns:p14="http://schemas.microsoft.com/office/powerpoint/2010/main" val="7970504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360363" y="1590676"/>
            <a:ext cx="6772203"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8" name="TextBox 17"/>
          <p:cNvSpPr txBox="1"/>
          <p:nvPr/>
        </p:nvSpPr>
        <p:spPr>
          <a:xfrm>
            <a:off x="4368800" y="6477001"/>
            <a:ext cx="367242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a:solidFill>
                  <a:schemeClr val="bg1"/>
                </a:solidFill>
              </a:rPr>
              <a:t>Presentation title</a:t>
            </a:r>
            <a:br>
              <a:rPr lang="en-US" sz="488" noProof="0">
                <a:solidFill>
                  <a:schemeClr val="bg1"/>
                </a:solidFill>
              </a:rPr>
            </a:br>
            <a:r>
              <a:rPr lang="en-US" sz="488" noProof="0">
                <a:solidFill>
                  <a:schemeClr val="bg1"/>
                </a:solidFill>
              </a:rPr>
              <a:t>[To edit, click View &gt; Slide Master &gt; Slide Master]</a:t>
            </a:r>
          </a:p>
        </p:txBody>
      </p:sp>
      <p:sp>
        <p:nvSpPr>
          <p:cNvPr id="19" name="TextBox 18"/>
          <p:cNvSpPr txBox="1"/>
          <p:nvPr/>
        </p:nvSpPr>
        <p:spPr>
          <a:xfrm>
            <a:off x="352426" y="6477001"/>
            <a:ext cx="4016375"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a:solidFill>
                  <a:schemeClr val="bg1"/>
                </a:solidFill>
              </a:rPr>
              <a:t>Member firms and DTTL: Insert appropriate copyright</a:t>
            </a:r>
            <a:br>
              <a:rPr lang="en-US" sz="488" noProof="0">
                <a:solidFill>
                  <a:schemeClr val="bg1"/>
                </a:solidFill>
              </a:rPr>
            </a:br>
            <a:r>
              <a:rPr lang="en-US" sz="488" noProof="0">
                <a:solidFill>
                  <a:schemeClr val="bg1"/>
                </a:solidFill>
              </a:rPr>
              <a:t>[To edit, click View &gt; Slide Master &gt; Slide Master]</a:t>
            </a:r>
          </a:p>
        </p:txBody>
      </p:sp>
      <p:sp>
        <p:nvSpPr>
          <p:cNvPr id="20" name="TextBox 19"/>
          <p:cNvSpPr txBox="1"/>
          <p:nvPr/>
        </p:nvSpPr>
        <p:spPr>
          <a:xfrm>
            <a:off x="8560594"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a:solidFill>
                <a:schemeClr val="bg1"/>
              </a:solidFill>
            </a:endParaRPr>
          </a:p>
        </p:txBody>
      </p:sp>
    </p:spTree>
    <p:extLst>
      <p:ext uri="{BB962C8B-B14F-4D97-AF65-F5344CB8AC3E}">
        <p14:creationId xmlns:p14="http://schemas.microsoft.com/office/powerpoint/2010/main" val="400521295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360363" y="1590676"/>
            <a:ext cx="6772203"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4" name="TextBox 13"/>
          <p:cNvSpPr txBox="1"/>
          <p:nvPr/>
        </p:nvSpPr>
        <p:spPr>
          <a:xfrm>
            <a:off x="4368800" y="6477001"/>
            <a:ext cx="367242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a:solidFill>
                  <a:schemeClr val="bg1"/>
                </a:solidFill>
              </a:rPr>
              <a:t>Presentation title</a:t>
            </a:r>
            <a:br>
              <a:rPr lang="en-US" sz="488" noProof="0">
                <a:solidFill>
                  <a:schemeClr val="bg1"/>
                </a:solidFill>
              </a:rPr>
            </a:br>
            <a:r>
              <a:rPr lang="en-US" sz="488" noProof="0">
                <a:solidFill>
                  <a:schemeClr val="bg1"/>
                </a:solidFill>
              </a:rPr>
              <a:t>[To edit, click View &gt; Slide Master &gt; Slide Master]</a:t>
            </a:r>
          </a:p>
        </p:txBody>
      </p:sp>
      <p:sp>
        <p:nvSpPr>
          <p:cNvPr id="15" name="TextBox 14"/>
          <p:cNvSpPr txBox="1"/>
          <p:nvPr/>
        </p:nvSpPr>
        <p:spPr>
          <a:xfrm>
            <a:off x="352426" y="6477001"/>
            <a:ext cx="4016375"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a:solidFill>
                  <a:schemeClr val="bg1"/>
                </a:solidFill>
              </a:rPr>
              <a:t>Member firms and DTTL: Insert appropriate copyright</a:t>
            </a:r>
            <a:br>
              <a:rPr lang="en-US" sz="488" noProof="0">
                <a:solidFill>
                  <a:schemeClr val="bg1"/>
                </a:solidFill>
              </a:rPr>
            </a:br>
            <a:r>
              <a:rPr lang="en-US" sz="488" noProof="0">
                <a:solidFill>
                  <a:schemeClr val="bg1"/>
                </a:solidFill>
              </a:rPr>
              <a:t>[To edit, click View &gt; Slide Master &gt; Slide Master]</a:t>
            </a:r>
          </a:p>
        </p:txBody>
      </p:sp>
      <p:sp>
        <p:nvSpPr>
          <p:cNvPr id="16" name="TextBox 15"/>
          <p:cNvSpPr txBox="1"/>
          <p:nvPr/>
        </p:nvSpPr>
        <p:spPr>
          <a:xfrm>
            <a:off x="8560594"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a:solidFill>
                <a:schemeClr val="bg1"/>
              </a:solidFill>
            </a:endParaRPr>
          </a:p>
        </p:txBody>
      </p:sp>
    </p:spTree>
    <p:extLst>
      <p:ext uri="{BB962C8B-B14F-4D97-AF65-F5344CB8AC3E}">
        <p14:creationId xmlns:p14="http://schemas.microsoft.com/office/powerpoint/2010/main" val="10724467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352425" y="1590676"/>
            <a:ext cx="6772203"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5860731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C39E97D2-FB65-4AB6-BBC8-9B794E3C7957}" type="slidenum">
              <a:rPr lang="en-US"/>
              <a:pPr/>
              <a:t>‹#›</a:t>
            </a:fld>
            <a:endParaRPr lang="en-US"/>
          </a:p>
        </p:txBody>
      </p:sp>
    </p:spTree>
    <p:extLst>
      <p:ext uri="{BB962C8B-B14F-4D97-AF65-F5344CB8AC3E}">
        <p14:creationId xmlns:p14="http://schemas.microsoft.com/office/powerpoint/2010/main" val="29493354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52426" y="1665291"/>
            <a:ext cx="7011590" cy="4633910"/>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43537010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203651" y="1700213"/>
            <a:ext cx="4587925" cy="4598988"/>
          </a:xfrm>
        </p:spPr>
        <p:txBody>
          <a:bodyPr/>
          <a:lstStyle/>
          <a:p>
            <a:r>
              <a:rPr lang="en-US" noProof="0"/>
              <a:t>Click icon to add picture</a:t>
            </a:r>
          </a:p>
        </p:txBody>
      </p:sp>
      <p:sp>
        <p:nvSpPr>
          <p:cNvPr id="6" name="Content Placeholder 3"/>
          <p:cNvSpPr>
            <a:spLocks noGrp="1"/>
          </p:cNvSpPr>
          <p:nvPr>
            <p:ph sz="quarter" idx="10"/>
          </p:nvPr>
        </p:nvSpPr>
        <p:spPr>
          <a:xfrm>
            <a:off x="352426" y="1665290"/>
            <a:ext cx="3250247" cy="463391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19308966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352425" y="1665290"/>
            <a:ext cx="843915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01392280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8" name="Text Placeholder 18"/>
          <p:cNvSpPr>
            <a:spLocks noGrp="1"/>
          </p:cNvSpPr>
          <p:nvPr>
            <p:ph idx="1"/>
          </p:nvPr>
        </p:nvSpPr>
        <p:spPr>
          <a:xfrm>
            <a:off x="352425" y="1665818"/>
            <a:ext cx="843915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4079008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352425" y="1676403"/>
            <a:ext cx="8439150" cy="4622799"/>
          </a:xfrm>
          <a:prstGeom prst="rect">
            <a:avLst/>
          </a:prstGeom>
        </p:spPr>
        <p:txBody>
          <a:bodyPr vert="horz" lIns="0" tIns="0" rIns="0" bIns="0" rtlCol="0">
            <a:norm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21293054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51000" y="2036656"/>
            <a:ext cx="843915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351000" y="1684869"/>
            <a:ext cx="84391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351000" y="5982791"/>
            <a:ext cx="8439151" cy="316411"/>
          </a:xfrm>
        </p:spPr>
        <p:txBody>
          <a:bodyPr>
            <a:normAutofit/>
          </a:bodyPr>
          <a:lstStyle>
            <a:lvl1pPr>
              <a:spcAft>
                <a:spcPts val="0"/>
              </a:spcAft>
              <a:defRPr sz="675"/>
            </a:lvl1pPr>
          </a:lstStyle>
          <a:p>
            <a:pPr lvl="0"/>
            <a:r>
              <a:rPr lang="en-US" noProof="0"/>
              <a:t>Click to edit Master text styles</a:t>
            </a:r>
          </a:p>
        </p:txBody>
      </p:sp>
      <p:sp>
        <p:nvSpPr>
          <p:cNvPr id="7"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19793010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51000" y="2052000"/>
            <a:ext cx="27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351000" y="1665289"/>
            <a:ext cx="27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2000" y="2051999"/>
            <a:ext cx="27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3222002" y="1665288"/>
            <a:ext cx="27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65220" y="2052000"/>
            <a:ext cx="27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6065219" y="1659145"/>
            <a:ext cx="27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351000" y="5982791"/>
            <a:ext cx="8439151" cy="316411"/>
          </a:xfrm>
        </p:spPr>
        <p:txBody>
          <a:bodyPr>
            <a:normAutofit/>
          </a:bodyPr>
          <a:lstStyle>
            <a:lvl1pPr>
              <a:spcAft>
                <a:spcPts val="0"/>
              </a:spcAft>
              <a:defRPr sz="675"/>
            </a:lvl1pPr>
          </a:lstStyle>
          <a:p>
            <a:pPr lvl="0"/>
            <a:r>
              <a:rPr lang="en-US" noProof="0"/>
              <a:t>Click to edit Master text styles</a:t>
            </a:r>
          </a:p>
        </p:txBody>
      </p:sp>
      <p:sp>
        <p:nvSpPr>
          <p:cNvPr id="13"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26724089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351000" y="1665289"/>
            <a:ext cx="3996000" cy="462250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4795575" y="1656001"/>
            <a:ext cx="3996000" cy="463179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54724648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352425" y="1665288"/>
            <a:ext cx="3996000" cy="4633912"/>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4795575" y="1665288"/>
            <a:ext cx="3996000" cy="4633912"/>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51946749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52425" y="1665288"/>
            <a:ext cx="4110300" cy="4317502"/>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4679688" y="2125014"/>
            <a:ext cx="4111887"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4679688" y="1655764"/>
            <a:ext cx="411188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351000" y="5982791"/>
            <a:ext cx="8439151" cy="316411"/>
          </a:xfrm>
        </p:spPr>
        <p:txBody>
          <a:bodyPr>
            <a:noAutofit/>
          </a:bodyPr>
          <a:lstStyle>
            <a:lvl1pPr>
              <a:spcAft>
                <a:spcPts val="0"/>
              </a:spcAft>
              <a:defRPr sz="675"/>
            </a:lvl1pPr>
          </a:lstStyle>
          <a:p>
            <a:pPr lvl="0"/>
            <a:r>
              <a:rPr lang="en-US" noProof="0"/>
              <a:t>Click to edit Master text styles</a:t>
            </a:r>
          </a:p>
        </p:txBody>
      </p:sp>
      <p:sp>
        <p:nvSpPr>
          <p:cNvPr id="12"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40866601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42900" y="955675"/>
            <a:ext cx="414496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0263" y="955675"/>
            <a:ext cx="414496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852437B2-B960-4B79-82B5-741127E3A9C1}" type="slidenum">
              <a:rPr lang="en-US"/>
              <a:pPr/>
              <a:t>‹#›</a:t>
            </a:fld>
            <a:endParaRPr lang="en-US"/>
          </a:p>
        </p:txBody>
      </p:sp>
    </p:spTree>
    <p:extLst>
      <p:ext uri="{BB962C8B-B14F-4D97-AF65-F5344CB8AC3E}">
        <p14:creationId xmlns:p14="http://schemas.microsoft.com/office/powerpoint/2010/main" val="18026643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79688" y="2125014"/>
            <a:ext cx="4111887"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4679689" y="1654029"/>
            <a:ext cx="4111887"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352425" y="2125014"/>
            <a:ext cx="4111888"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352424" y="1665289"/>
            <a:ext cx="4111888"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351000" y="5982791"/>
            <a:ext cx="8439151" cy="316411"/>
          </a:xfrm>
        </p:spPr>
        <p:txBody>
          <a:bodyPr>
            <a:noAutofit/>
          </a:bodyPr>
          <a:lstStyle>
            <a:lvl1pPr>
              <a:spcAft>
                <a:spcPts val="0"/>
              </a:spcAft>
              <a:defRPr sz="675"/>
            </a:lvl1pPr>
          </a:lstStyle>
          <a:p>
            <a:pPr lvl="0"/>
            <a:r>
              <a:rPr lang="en-US" noProof="0"/>
              <a:t>Click to edit Master text styles</a:t>
            </a:r>
          </a:p>
        </p:txBody>
      </p:sp>
      <p:sp>
        <p:nvSpPr>
          <p:cNvPr id="1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1451661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52425" y="1665289"/>
            <a:ext cx="3323893" cy="463391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4111575" y="1700214"/>
            <a:ext cx="4680000" cy="4598989"/>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248759870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591338" y="1626100"/>
            <a:ext cx="3200237" cy="4673101"/>
          </a:xfrm>
          <a:prstGeom prst="rect">
            <a:avLst/>
          </a:prstGeom>
        </p:spPr>
        <p:txBody>
          <a:bodyPr>
            <a:noAutofit/>
          </a:bodyPr>
          <a:lstStyle>
            <a:lvl1pPr>
              <a:tabLst>
                <a:tab pos="5029074" algn="r"/>
              </a:tabLst>
              <a:defRPr sz="18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52425" y="1665288"/>
            <a:ext cx="4995650" cy="4633913"/>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31969468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366557" y="1700213"/>
            <a:ext cx="1998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2505780" y="1700212"/>
            <a:ext cx="1998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4645004" y="1700212"/>
            <a:ext cx="1998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6784227" y="1700212"/>
            <a:ext cx="1998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361772" y="3076573"/>
            <a:ext cx="1980000" cy="322262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4655408" y="3079742"/>
            <a:ext cx="1980000" cy="322262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2508590" y="3076573"/>
            <a:ext cx="1980000" cy="322262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6802227" y="3079742"/>
            <a:ext cx="1980000" cy="322262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44741999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357585" y="170386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4638675" y="170386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35242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Rectangle 6"/>
          <p:cNvSpPr/>
          <p:nvPr/>
        </p:nvSpPr>
        <p:spPr>
          <a:xfrm>
            <a:off x="463867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8" name="Picture Placeholder 11"/>
          <p:cNvSpPr>
            <a:spLocks noGrp="1"/>
          </p:cNvSpPr>
          <p:nvPr>
            <p:ph type="pic" sz="quarter" idx="25"/>
          </p:nvPr>
        </p:nvSpPr>
        <p:spPr>
          <a:xfrm>
            <a:off x="357585" y="1880213"/>
            <a:ext cx="15876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4653073" y="1880212"/>
            <a:ext cx="15876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361334" y="4256211"/>
            <a:ext cx="15876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4653073" y="4256211"/>
            <a:ext cx="15876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130585" y="1880213"/>
            <a:ext cx="23796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413007" y="1880213"/>
            <a:ext cx="2378268"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101913" y="4256213"/>
            <a:ext cx="23796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411675" y="4256212"/>
            <a:ext cx="23796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6747970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352425" y="1700213"/>
            <a:ext cx="2720579" cy="2052830"/>
          </a:xfrm>
        </p:spPr>
        <p:txBody>
          <a:bodyPr/>
          <a:lstStyle/>
          <a:p>
            <a:r>
              <a:rPr lang="en-US" noProof="0"/>
              <a:t>Click icon to add picture</a:t>
            </a:r>
          </a:p>
        </p:txBody>
      </p:sp>
      <p:sp>
        <p:nvSpPr>
          <p:cNvPr id="5" name="Picture Placeholder 7"/>
          <p:cNvSpPr>
            <a:spLocks noGrp="1"/>
          </p:cNvSpPr>
          <p:nvPr>
            <p:ph type="pic" sz="quarter" idx="14"/>
          </p:nvPr>
        </p:nvSpPr>
        <p:spPr>
          <a:xfrm>
            <a:off x="6062088" y="1700214"/>
            <a:ext cx="2729487" cy="2059099"/>
          </a:xfrm>
        </p:spPr>
        <p:txBody>
          <a:bodyPr/>
          <a:lstStyle/>
          <a:p>
            <a:r>
              <a:rPr lang="en-US" noProof="0"/>
              <a:t>Click icon to add picture</a:t>
            </a:r>
          </a:p>
        </p:txBody>
      </p:sp>
      <p:sp>
        <p:nvSpPr>
          <p:cNvPr id="6" name="Picture Placeholder 7"/>
          <p:cNvSpPr>
            <a:spLocks noGrp="1"/>
          </p:cNvSpPr>
          <p:nvPr>
            <p:ph type="pic" sz="quarter" idx="15"/>
          </p:nvPr>
        </p:nvSpPr>
        <p:spPr>
          <a:xfrm>
            <a:off x="3213141" y="1700213"/>
            <a:ext cx="2727722" cy="2057767"/>
          </a:xfrm>
        </p:spPr>
        <p:txBody>
          <a:bodyPr/>
          <a:lstStyle/>
          <a:p>
            <a:r>
              <a:rPr lang="en-US" noProof="0"/>
              <a:t>Click icon to add picture</a:t>
            </a:r>
          </a:p>
        </p:txBody>
      </p:sp>
      <p:sp>
        <p:nvSpPr>
          <p:cNvPr id="9" name="Text Placeholder 18"/>
          <p:cNvSpPr>
            <a:spLocks noGrp="1"/>
          </p:cNvSpPr>
          <p:nvPr>
            <p:ph idx="1" hasCustomPrompt="1"/>
          </p:nvPr>
        </p:nvSpPr>
        <p:spPr>
          <a:xfrm>
            <a:off x="352425" y="3832225"/>
            <a:ext cx="2720579"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3208735" y="3832224"/>
            <a:ext cx="2727722"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6062088" y="3832225"/>
            <a:ext cx="2729487"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401054134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49711043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14" name="Text Placeholder 8"/>
          <p:cNvSpPr>
            <a:spLocks noGrp="1"/>
          </p:cNvSpPr>
          <p:nvPr>
            <p:ph type="body" sz="quarter" idx="17"/>
          </p:nvPr>
        </p:nvSpPr>
        <p:spPr>
          <a:xfrm>
            <a:off x="352424" y="1857893"/>
            <a:ext cx="4158000"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4633097" y="1857893"/>
            <a:ext cx="4158000"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8" name="Rectangle 17"/>
          <p:cNvSpPr/>
          <p:nvPr/>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9" name="Picture Placeholder 29"/>
          <p:cNvSpPr>
            <a:spLocks noGrp="1"/>
          </p:cNvSpPr>
          <p:nvPr>
            <p:ph type="pic" sz="quarter" idx="20" hasCustomPrompt="1"/>
          </p:nvPr>
        </p:nvSpPr>
        <p:spPr>
          <a:xfrm>
            <a:off x="7850727" y="1857893"/>
            <a:ext cx="933121" cy="549275"/>
          </a:xfrm>
        </p:spPr>
        <p:txBody>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3551096" y="1863918"/>
            <a:ext cx="933680" cy="549275"/>
          </a:xfrm>
        </p:spPr>
        <p:txBody>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Tree>
    <p:extLst>
      <p:ext uri="{BB962C8B-B14F-4D97-AF65-F5344CB8AC3E}">
        <p14:creationId xmlns:p14="http://schemas.microsoft.com/office/powerpoint/2010/main" val="305603145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52424" y="1857893"/>
            <a:ext cx="4158000" cy="1695451"/>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4633097" y="1857893"/>
            <a:ext cx="4158000" cy="1695451"/>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a:solidFill>
                <a:schemeClr val="bg1"/>
              </a:solidFill>
            </a:endParaRPr>
          </a:p>
        </p:txBody>
      </p:sp>
      <p:sp>
        <p:nvSpPr>
          <p:cNvPr id="5" name="Rectangle 4"/>
          <p:cNvSpPr/>
          <p:nvPr/>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a:solidFill>
                <a:schemeClr val="bg1"/>
              </a:solidFill>
            </a:endParaRPr>
          </a:p>
        </p:txBody>
      </p:sp>
      <p:sp>
        <p:nvSpPr>
          <p:cNvPr id="7" name="Picture Placeholder 29"/>
          <p:cNvSpPr>
            <a:spLocks noGrp="1"/>
          </p:cNvSpPr>
          <p:nvPr>
            <p:ph type="pic" sz="quarter" idx="20" hasCustomPrompt="1"/>
          </p:nvPr>
        </p:nvSpPr>
        <p:spPr>
          <a:xfrm>
            <a:off x="7850727" y="1857893"/>
            <a:ext cx="933121" cy="549275"/>
          </a:xfr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Text Placeholder 8"/>
          <p:cNvSpPr>
            <a:spLocks noGrp="1"/>
          </p:cNvSpPr>
          <p:nvPr>
            <p:ph type="body" sz="quarter" idx="22"/>
          </p:nvPr>
        </p:nvSpPr>
        <p:spPr>
          <a:xfrm>
            <a:off x="352424" y="4249682"/>
            <a:ext cx="4158000" cy="1695451"/>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4633095" y="4249682"/>
            <a:ext cx="4158000" cy="1695451"/>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352424"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a:solidFill>
                <a:schemeClr val="bg1"/>
              </a:solidFill>
            </a:endParaRPr>
          </a:p>
        </p:txBody>
      </p:sp>
      <p:sp>
        <p:nvSpPr>
          <p:cNvPr id="13" name="Rectangle 12"/>
          <p:cNvSpPr/>
          <p:nvPr/>
        </p:nvSpPr>
        <p:spPr>
          <a:xfrm>
            <a:off x="4625847"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a:solidFill>
                <a:schemeClr val="bg1"/>
              </a:solidFill>
            </a:endParaRPr>
          </a:p>
        </p:txBody>
      </p:sp>
      <p:sp>
        <p:nvSpPr>
          <p:cNvPr id="14" name="Picture Placeholder 29"/>
          <p:cNvSpPr>
            <a:spLocks noGrp="1"/>
          </p:cNvSpPr>
          <p:nvPr>
            <p:ph type="pic" sz="quarter" idx="24" hasCustomPrompt="1"/>
          </p:nvPr>
        </p:nvSpPr>
        <p:spPr>
          <a:xfrm>
            <a:off x="3525327" y="4249684"/>
            <a:ext cx="956187" cy="549275"/>
          </a:xfr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7844277" y="4248210"/>
            <a:ext cx="933120" cy="549275"/>
          </a:xfr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3551096" y="1863918"/>
            <a:ext cx="933680" cy="549275"/>
          </a:xfr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741505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3208735" y="1705968"/>
            <a:ext cx="272772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352425" y="1705968"/>
            <a:ext cx="272057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6078132" y="1705968"/>
            <a:ext cx="272176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3208735" y="1851441"/>
            <a:ext cx="2727722"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352425" y="1851441"/>
            <a:ext cx="2720579"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6069807" y="1851441"/>
            <a:ext cx="2721769"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405482856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056F19E3-1C3F-4F67-8104-C32390C12760}" type="slidenum">
              <a:rPr lang="en-US"/>
              <a:pPr/>
              <a:t>‹#›</a:t>
            </a:fld>
            <a:endParaRPr lang="en-US"/>
          </a:p>
        </p:txBody>
      </p:sp>
    </p:spTree>
    <p:extLst>
      <p:ext uri="{BB962C8B-B14F-4D97-AF65-F5344CB8AC3E}">
        <p14:creationId xmlns:p14="http://schemas.microsoft.com/office/powerpoint/2010/main" val="837269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52425"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6847575"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2517475"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4682525"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298889858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52427"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6847575"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25174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4682525"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4751388" y="6477002"/>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376240" y="6477001"/>
            <a:ext cx="4016375" cy="200055"/>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8536784" y="6477002"/>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00918373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350837" y="1665818"/>
            <a:ext cx="4153298"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7240626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52425" y="402587"/>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59090865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019233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356401" y="5845181"/>
            <a:ext cx="4194008" cy="505645"/>
          </a:xfrm>
          <a:prstGeom prst="rect">
            <a:avLst/>
          </a:prstGeom>
        </p:spPr>
        <p:txBody>
          <a:bodyPr lIns="0" tIns="0" rIns="0" bIns="0" anchor="b" anchorCtr="0">
            <a:noAutofit/>
          </a:bodyPr>
          <a:lstStyle>
            <a:lvl1pPr marL="0" indent="0" algn="l">
              <a:lnSpc>
                <a:spcPct val="100000"/>
              </a:lnSpc>
              <a:spcAft>
                <a:spcPts val="0"/>
              </a:spcAft>
              <a:buNone/>
              <a:defRPr sz="1350" b="1">
                <a:solidFill>
                  <a:schemeClr val="bg1"/>
                </a:solidFill>
              </a:defRPr>
            </a:lvl1pPr>
            <a:lvl2pPr marL="0" indent="0" algn="l">
              <a:buNone/>
              <a:defRPr sz="1200" b="0">
                <a:solidFill>
                  <a:schemeClr val="bg1"/>
                </a:solidFill>
              </a:defRPr>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56400" y="6362700"/>
            <a:ext cx="4195762" cy="298451"/>
          </a:xfrm>
          <a:prstGeom prst="rect">
            <a:avLst/>
          </a:prstGeom>
        </p:spPr>
        <p:txBody>
          <a:bodyPr/>
          <a:lstStyle>
            <a:lvl1pPr>
              <a:spcAft>
                <a:spcPts val="0"/>
              </a:spcAft>
              <a:defRPr sz="788">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352425" y="457761"/>
            <a:ext cx="14985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grpSp>
      <p:sp>
        <p:nvSpPr>
          <p:cNvPr id="33" name="Picture Placeholder 8"/>
          <p:cNvSpPr>
            <a:spLocks noGrp="1"/>
          </p:cNvSpPr>
          <p:nvPr>
            <p:ph type="pic" sz="quarter" idx="11"/>
          </p:nvPr>
        </p:nvSpPr>
        <p:spPr>
          <a:xfrm>
            <a:off x="2545287" y="727595"/>
            <a:ext cx="405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40817458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356495" y="5845181"/>
            <a:ext cx="4195761" cy="505645"/>
          </a:xfrm>
          <a:prstGeom prst="rect">
            <a:avLst/>
          </a:prstGeom>
        </p:spPr>
        <p:txBody>
          <a:bodyPr lIns="0" tIns="0" rIns="0" bIns="0" anchor="b" anchorCtr="0">
            <a:noAutofit/>
          </a:bodyPr>
          <a:lstStyle>
            <a:lvl1pPr marL="0" indent="0" algn="l">
              <a:lnSpc>
                <a:spcPct val="100000"/>
              </a:lnSpc>
              <a:spcAft>
                <a:spcPts val="0"/>
              </a:spcAft>
              <a:buNone/>
              <a:defRPr sz="1350" b="1">
                <a:solidFill>
                  <a:schemeClr val="tx1"/>
                </a:solidFill>
              </a:defRPr>
            </a:lvl1pPr>
            <a:lvl2pPr marL="0" indent="0" algn="l">
              <a:buNone/>
              <a:defRPr sz="1200" b="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56494" y="6362700"/>
            <a:ext cx="4195762" cy="298451"/>
          </a:xfrm>
          <a:prstGeom prst="rect">
            <a:avLst/>
          </a:prstGeom>
        </p:spPr>
        <p:txBody>
          <a:bodyPr>
            <a:no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356494" y="457200"/>
            <a:ext cx="14985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grpSp>
      <p:sp>
        <p:nvSpPr>
          <p:cNvPr id="30" name="Picture Placeholder 8"/>
          <p:cNvSpPr>
            <a:spLocks noGrp="1"/>
          </p:cNvSpPr>
          <p:nvPr>
            <p:ph type="pic" sz="quarter" idx="11"/>
          </p:nvPr>
        </p:nvSpPr>
        <p:spPr>
          <a:xfrm>
            <a:off x="2545287" y="727595"/>
            <a:ext cx="405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109957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157612" y="1530450"/>
            <a:ext cx="2835000" cy="3780000"/>
          </a:xfrm>
          <a:prstGeom prst="ellipse">
            <a:avLst/>
          </a:prstGeom>
          <a:ln w="25400">
            <a:solidFill>
              <a:schemeClr val="accent1"/>
            </a:solidFill>
          </a:ln>
        </p:spPr>
        <p:txBody>
          <a:bodyPr lIns="108000" tIns="108000" rIns="108000" bIns="108000" anchor="ctr" anchorCtr="0">
            <a:normAutofit/>
          </a:bodyPr>
          <a:lstStyle>
            <a:lvl1pPr algn="ctr">
              <a:lnSpc>
                <a:spcPts val="2850"/>
              </a:lnSpc>
              <a:defRPr sz="2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56401" y="5845181"/>
            <a:ext cx="4194008" cy="505645"/>
          </a:xfrm>
          <a:prstGeom prst="rect">
            <a:avLst/>
          </a:prstGeom>
        </p:spPr>
        <p:txBody>
          <a:bodyPr lIns="0" tIns="0" rIns="0" bIns="0" anchor="b" anchorCtr="0">
            <a:noAutofit/>
          </a:bodyPr>
          <a:lstStyle>
            <a:lvl1pPr marL="0" indent="0" algn="l">
              <a:lnSpc>
                <a:spcPct val="100000"/>
              </a:lnSpc>
              <a:spcAft>
                <a:spcPts val="0"/>
              </a:spcAft>
              <a:buNone/>
              <a:defRPr sz="12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56400" y="6362700"/>
            <a:ext cx="4195762" cy="298451"/>
          </a:xfrm>
          <a:prstGeom prst="rect">
            <a:avLst/>
          </a:prstGeom>
        </p:spPr>
        <p:txBody>
          <a:bodyPr/>
          <a:lstStyle>
            <a:lvl1pPr>
              <a:spcAft>
                <a:spcPts val="0"/>
              </a:spcAft>
              <a:defRPr sz="788">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352425" y="457761"/>
            <a:ext cx="14985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grpSp>
    </p:spTree>
    <p:extLst>
      <p:ext uri="{BB962C8B-B14F-4D97-AF65-F5344CB8AC3E}">
        <p14:creationId xmlns:p14="http://schemas.microsoft.com/office/powerpoint/2010/main" val="88144159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159000" y="1530000"/>
            <a:ext cx="2835000" cy="3780000"/>
          </a:xfrm>
          <a:prstGeom prst="ellipse">
            <a:avLst/>
          </a:prstGeom>
          <a:ln w="25400">
            <a:solidFill>
              <a:schemeClr val="accent1"/>
            </a:solidFill>
          </a:ln>
        </p:spPr>
        <p:txBody>
          <a:bodyPr lIns="108000" tIns="108000" rIns="108000" bIns="108000" anchor="ctr" anchorCtr="0">
            <a:normAutofit/>
          </a:bodyPr>
          <a:lstStyle>
            <a:lvl1pPr algn="ctr">
              <a:lnSpc>
                <a:spcPts val="2850"/>
              </a:lnSpc>
              <a:defRPr sz="24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56495" y="5845181"/>
            <a:ext cx="4195761" cy="505645"/>
          </a:xfrm>
          <a:prstGeom prst="rect">
            <a:avLst/>
          </a:prstGeom>
        </p:spPr>
        <p:txBody>
          <a:bodyPr lIns="0" tIns="0" rIns="0" bIns="0" anchor="b" anchorCtr="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56494" y="6362700"/>
            <a:ext cx="4195762" cy="298451"/>
          </a:xfrm>
          <a:prstGeom prst="rect">
            <a:avLst/>
          </a:prstGeom>
        </p:spPr>
        <p:txBody>
          <a:bodyPr>
            <a:no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356494" y="457200"/>
            <a:ext cx="14985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grpSp>
    </p:spTree>
    <p:extLst>
      <p:ext uri="{BB962C8B-B14F-4D97-AF65-F5344CB8AC3E}">
        <p14:creationId xmlns:p14="http://schemas.microsoft.com/office/powerpoint/2010/main" val="276165250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5" y="1700214"/>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52425" y="3423545"/>
            <a:ext cx="7813676"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4752000" y="6477000"/>
            <a:ext cx="3672420" cy="150169"/>
          </a:xfrm>
          <a:prstGeom prst="rect">
            <a:avLst/>
          </a:prstGeom>
          <a:noFill/>
        </p:spPr>
        <p:txBody>
          <a:bodyPr wrap="square" lIns="0" tIns="0" rIns="0" bIns="0" rtlCol="0">
            <a:spAutoFit/>
          </a:bodyPr>
          <a:lstStyle/>
          <a:p>
            <a:pPr algn="r" defTabSz="914378">
              <a:buSzPct val="100000"/>
              <a:buFont typeface="Arial"/>
              <a:buNone/>
            </a:pPr>
            <a:r>
              <a:rPr lang="en-US" sz="488" dirty="0">
                <a:solidFill>
                  <a:prstClr val="white"/>
                </a:solidFill>
              </a:rPr>
              <a:t>Presentation title</a:t>
            </a:r>
            <a:br>
              <a:rPr lang="en-US" sz="488" dirty="0">
                <a:solidFill>
                  <a:prstClr val="white"/>
                </a:solidFill>
              </a:rPr>
            </a:br>
            <a:r>
              <a:rPr lang="en-US" sz="488" dirty="0">
                <a:solidFill>
                  <a:prstClr val="white"/>
                </a:solidFill>
              </a:rPr>
              <a:t>[To edit, click View &gt; Slide Master &gt; Slide master1]</a:t>
            </a:r>
          </a:p>
        </p:txBody>
      </p:sp>
      <p:sp>
        <p:nvSpPr>
          <p:cNvPr id="13"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8 Deloitte Development LLC. All rights reserved.</a:t>
            </a:r>
          </a:p>
        </p:txBody>
      </p:sp>
      <p:sp>
        <p:nvSpPr>
          <p:cNvPr id="14" name="TextBox 13"/>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18178375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CA79DC06-ABB5-4D88-9F8B-0149818D5B77}" type="slidenum">
              <a:rPr lang="en-US"/>
              <a:pPr/>
              <a:t>‹#›</a:t>
            </a:fld>
            <a:endParaRPr lang="en-US"/>
          </a:p>
        </p:txBody>
      </p:sp>
    </p:spTree>
    <p:extLst>
      <p:ext uri="{BB962C8B-B14F-4D97-AF65-F5344CB8AC3E}">
        <p14:creationId xmlns:p14="http://schemas.microsoft.com/office/powerpoint/2010/main" val="23254330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4752000" y="6477000"/>
            <a:ext cx="3672420" cy="150169"/>
          </a:xfrm>
          <a:prstGeom prst="rect">
            <a:avLst/>
          </a:prstGeom>
          <a:noFill/>
        </p:spPr>
        <p:txBody>
          <a:bodyPr wrap="square" lIns="0" tIns="0" rIns="0" bIns="0" rtlCol="0">
            <a:spAutoFit/>
          </a:bodyPr>
          <a:lstStyle/>
          <a:p>
            <a:pPr algn="r" defTabSz="914378">
              <a:buSzPct val="100000"/>
              <a:buFont typeface="Arial"/>
              <a:buNone/>
            </a:pPr>
            <a:r>
              <a:rPr lang="en-US" sz="488" dirty="0">
                <a:solidFill>
                  <a:prstClr val="white"/>
                </a:solidFill>
              </a:rPr>
              <a:t>Presentation title</a:t>
            </a:r>
            <a:br>
              <a:rPr lang="en-US" sz="488" dirty="0">
                <a:solidFill>
                  <a:prstClr val="white"/>
                </a:solidFill>
              </a:rPr>
            </a:br>
            <a:r>
              <a:rPr lang="en-US" sz="488" dirty="0">
                <a:solidFill>
                  <a:prstClr val="white"/>
                </a:solidFill>
              </a:rPr>
              <a:t>[To edit, click View &gt; Slide Master &gt; Slide master1]</a:t>
            </a:r>
          </a:p>
        </p:txBody>
      </p:sp>
      <p:sp>
        <p:nvSpPr>
          <p:cNvPr id="21"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12808224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4752000" y="6477000"/>
            <a:ext cx="3672420" cy="75085"/>
          </a:xfrm>
          <a:prstGeom prst="rect">
            <a:avLst/>
          </a:prstGeom>
          <a:noFill/>
        </p:spPr>
        <p:txBody>
          <a:bodyPr wrap="square" lIns="0" tIns="0" rIns="0" bIns="0" rtlCol="0">
            <a:spAutoFit/>
          </a:bodyPr>
          <a:lstStyle/>
          <a:p>
            <a:pPr algn="r" defTabSz="914378">
              <a:buSzPct val="100000"/>
              <a:buFont typeface="Arial"/>
              <a:buNone/>
            </a:pPr>
            <a:r>
              <a:rPr lang="en-US" sz="488" dirty="0">
                <a:solidFill>
                  <a:prstClr val="white"/>
                </a:solidFill>
              </a:rPr>
              <a:t>Reimagining the Talent Survey</a:t>
            </a:r>
          </a:p>
        </p:txBody>
      </p:sp>
      <p:sp>
        <p:nvSpPr>
          <p:cNvPr id="8"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7 Deloitte Development LLC. All rights reserved.</a:t>
            </a:r>
          </a:p>
        </p:txBody>
      </p:sp>
      <p:sp>
        <p:nvSpPr>
          <p:cNvPr id="9" name="TextBox 8"/>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17665654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4752000" y="6477000"/>
            <a:ext cx="3672420" cy="150169"/>
          </a:xfrm>
          <a:prstGeom prst="rect">
            <a:avLst/>
          </a:prstGeom>
          <a:noFill/>
        </p:spPr>
        <p:txBody>
          <a:bodyPr wrap="square" lIns="0" tIns="0" rIns="0" bIns="0" rtlCol="0">
            <a:spAutoFit/>
          </a:bodyPr>
          <a:lstStyle/>
          <a:p>
            <a:pPr algn="r" defTabSz="914378">
              <a:buSzPct val="100000"/>
              <a:buFont typeface="Arial"/>
              <a:buNone/>
            </a:pPr>
            <a:r>
              <a:rPr lang="en-US" sz="488" dirty="0">
                <a:solidFill>
                  <a:prstClr val="white"/>
                </a:solidFill>
              </a:rPr>
              <a:t>Presentation title</a:t>
            </a:r>
            <a:br>
              <a:rPr lang="en-US" sz="488" dirty="0">
                <a:solidFill>
                  <a:prstClr val="white"/>
                </a:solidFill>
              </a:rPr>
            </a:br>
            <a:r>
              <a:rPr lang="en-US" sz="488" dirty="0">
                <a:solidFill>
                  <a:prstClr val="white"/>
                </a:solidFill>
              </a:rPr>
              <a:t>[To edit, click View &gt; Slide Master &gt; Slide master1]</a:t>
            </a:r>
          </a:p>
        </p:txBody>
      </p:sp>
      <p:sp>
        <p:nvSpPr>
          <p:cNvPr id="21"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71539274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4752000" y="6477000"/>
            <a:ext cx="3672420" cy="150169"/>
          </a:xfrm>
          <a:prstGeom prst="rect">
            <a:avLst/>
          </a:prstGeom>
          <a:noFill/>
        </p:spPr>
        <p:txBody>
          <a:bodyPr wrap="square" lIns="0" tIns="0" rIns="0" bIns="0" rtlCol="0">
            <a:spAutoFit/>
          </a:bodyPr>
          <a:lstStyle/>
          <a:p>
            <a:pPr algn="r" defTabSz="914378">
              <a:buSzPct val="100000"/>
              <a:buFont typeface="Arial"/>
              <a:buNone/>
            </a:pPr>
            <a:r>
              <a:rPr lang="en-US" sz="488" dirty="0">
                <a:solidFill>
                  <a:prstClr val="white"/>
                </a:solidFill>
              </a:rPr>
              <a:t>Presentation title</a:t>
            </a:r>
            <a:br>
              <a:rPr lang="en-US" sz="488" dirty="0">
                <a:solidFill>
                  <a:prstClr val="white"/>
                </a:solidFill>
              </a:rPr>
            </a:br>
            <a:r>
              <a:rPr lang="en-US" sz="488" dirty="0">
                <a:solidFill>
                  <a:prstClr val="white"/>
                </a:solidFill>
              </a:rPr>
              <a:t>[To edit, click View &gt; Slide Master &gt; Slide master1]</a:t>
            </a:r>
          </a:p>
        </p:txBody>
      </p:sp>
      <p:sp>
        <p:nvSpPr>
          <p:cNvPr id="21"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17505409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0363" y="1590676"/>
            <a:ext cx="6772203" cy="4708525"/>
          </a:xfrm>
          <a:prstGeom prst="rect">
            <a:avLst/>
          </a:prstGeom>
        </p:spPr>
        <p:txBody>
          <a:bodyPr>
            <a:no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aseCode"/>
          <p:cNvSpPr txBox="1"/>
          <p:nvPr userDrawn="1"/>
        </p:nvSpPr>
        <p:spPr>
          <a:xfrm>
            <a:off x="4752000" y="6477000"/>
            <a:ext cx="3672420" cy="150169"/>
          </a:xfrm>
          <a:prstGeom prst="rect">
            <a:avLst/>
          </a:prstGeom>
          <a:noFill/>
        </p:spPr>
        <p:txBody>
          <a:bodyPr wrap="square" lIns="0" tIns="0" rIns="0" bIns="0" rtlCol="0">
            <a:spAutoFit/>
          </a:bodyPr>
          <a:lstStyle/>
          <a:p>
            <a:pPr algn="r" defTabSz="914378">
              <a:buSzPct val="100000"/>
              <a:buFont typeface="Arial"/>
              <a:buNone/>
            </a:pPr>
            <a:r>
              <a:rPr lang="en-US" sz="488" dirty="0">
                <a:solidFill>
                  <a:prstClr val="white"/>
                </a:solidFill>
              </a:rPr>
              <a:t>Presentation title</a:t>
            </a:r>
            <a:br>
              <a:rPr lang="en-US" sz="488" dirty="0">
                <a:solidFill>
                  <a:prstClr val="white"/>
                </a:solidFill>
              </a:rPr>
            </a:br>
            <a:r>
              <a:rPr lang="en-US" sz="488" dirty="0">
                <a:solidFill>
                  <a:prstClr val="white"/>
                </a:solidFill>
              </a:rPr>
              <a:t>[To edit, click View &gt; Slide Master &gt; Slide master1]</a:t>
            </a:r>
          </a:p>
        </p:txBody>
      </p:sp>
      <p:sp>
        <p:nvSpPr>
          <p:cNvPr id="13"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14" name="TextBox 13"/>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72092277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360363" y="1590676"/>
            <a:ext cx="6772203" cy="4708525"/>
          </a:xfrm>
          <a:prstGeom prst="rect">
            <a:avLst/>
          </a:prstGeom>
        </p:spPr>
        <p:txBody>
          <a:bodyPr>
            <a:no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4" name="CaseCode"/>
          <p:cNvSpPr txBox="1"/>
          <p:nvPr userDrawn="1"/>
        </p:nvSpPr>
        <p:spPr>
          <a:xfrm>
            <a:off x="4752000" y="6477000"/>
            <a:ext cx="3672420" cy="150169"/>
          </a:xfrm>
          <a:prstGeom prst="rect">
            <a:avLst/>
          </a:prstGeom>
          <a:noFill/>
        </p:spPr>
        <p:txBody>
          <a:bodyPr wrap="square" lIns="0" tIns="0" rIns="0" bIns="0" rtlCol="0">
            <a:spAutoFit/>
          </a:bodyPr>
          <a:lstStyle/>
          <a:p>
            <a:pPr algn="r" defTabSz="914378">
              <a:buSzPct val="100000"/>
              <a:buFont typeface="Arial"/>
              <a:buNone/>
            </a:pPr>
            <a:r>
              <a:rPr lang="en-US" sz="488" dirty="0">
                <a:solidFill>
                  <a:prstClr val="white"/>
                </a:solidFill>
              </a:rPr>
              <a:t>Presentation title</a:t>
            </a:r>
            <a:br>
              <a:rPr lang="en-US" sz="488" dirty="0">
                <a:solidFill>
                  <a:prstClr val="white"/>
                </a:solidFill>
              </a:rPr>
            </a:br>
            <a:r>
              <a:rPr lang="en-US" sz="488" dirty="0">
                <a:solidFill>
                  <a:prstClr val="white"/>
                </a:solidFill>
              </a:rPr>
              <a:t>[To edit, click View &gt; Slide Master &gt; Slide master1]</a:t>
            </a:r>
          </a:p>
        </p:txBody>
      </p:sp>
      <p:sp>
        <p:nvSpPr>
          <p:cNvPr id="15"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16" name="TextBox 15"/>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371819922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360363" y="1590676"/>
            <a:ext cx="6772203" cy="4708525"/>
          </a:xfrm>
          <a:prstGeom prst="rect">
            <a:avLst/>
          </a:prstGeom>
        </p:spPr>
        <p:txBody>
          <a:bodyPr>
            <a:no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8" name="CaseCode"/>
          <p:cNvSpPr txBox="1"/>
          <p:nvPr userDrawn="1"/>
        </p:nvSpPr>
        <p:spPr>
          <a:xfrm>
            <a:off x="4752000" y="6477000"/>
            <a:ext cx="3672420" cy="150169"/>
          </a:xfrm>
          <a:prstGeom prst="rect">
            <a:avLst/>
          </a:prstGeom>
          <a:noFill/>
        </p:spPr>
        <p:txBody>
          <a:bodyPr wrap="square" lIns="0" tIns="0" rIns="0" bIns="0" rtlCol="0">
            <a:spAutoFit/>
          </a:bodyPr>
          <a:lstStyle/>
          <a:p>
            <a:pPr algn="r" defTabSz="914378">
              <a:buSzPct val="100000"/>
              <a:buFont typeface="Arial"/>
              <a:buNone/>
            </a:pPr>
            <a:r>
              <a:rPr lang="en-US" sz="488" dirty="0">
                <a:solidFill>
                  <a:prstClr val="white"/>
                </a:solidFill>
              </a:rPr>
              <a:t>Presentation title</a:t>
            </a:r>
            <a:br>
              <a:rPr lang="en-US" sz="488" dirty="0">
                <a:solidFill>
                  <a:prstClr val="white"/>
                </a:solidFill>
              </a:rPr>
            </a:br>
            <a:r>
              <a:rPr lang="en-US" sz="488" dirty="0">
                <a:solidFill>
                  <a:prstClr val="white"/>
                </a:solidFill>
              </a:rPr>
              <a:t>[To edit, click View &gt; Slide Master &gt; Slide master1]</a:t>
            </a:r>
          </a:p>
        </p:txBody>
      </p:sp>
      <p:sp>
        <p:nvSpPr>
          <p:cNvPr id="19"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20" name="TextBox 19"/>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211234058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360363" y="1590676"/>
            <a:ext cx="6772203" cy="4708525"/>
          </a:xfrm>
          <a:prstGeom prst="rect">
            <a:avLst/>
          </a:prstGeom>
        </p:spPr>
        <p:txBody>
          <a:bodyPr>
            <a:no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4" name="CaseCode"/>
          <p:cNvSpPr txBox="1"/>
          <p:nvPr userDrawn="1"/>
        </p:nvSpPr>
        <p:spPr>
          <a:xfrm>
            <a:off x="4752000" y="6477000"/>
            <a:ext cx="3672420" cy="150169"/>
          </a:xfrm>
          <a:prstGeom prst="rect">
            <a:avLst/>
          </a:prstGeom>
          <a:noFill/>
        </p:spPr>
        <p:txBody>
          <a:bodyPr wrap="square" lIns="0" tIns="0" rIns="0" bIns="0" rtlCol="0">
            <a:spAutoFit/>
          </a:bodyPr>
          <a:lstStyle/>
          <a:p>
            <a:pPr algn="r" defTabSz="914378">
              <a:buSzPct val="100000"/>
              <a:buFont typeface="Arial"/>
              <a:buNone/>
            </a:pPr>
            <a:r>
              <a:rPr lang="en-US" sz="488" dirty="0">
                <a:solidFill>
                  <a:prstClr val="white"/>
                </a:solidFill>
              </a:rPr>
              <a:t>Presentation title</a:t>
            </a:r>
            <a:br>
              <a:rPr lang="en-US" sz="488" dirty="0">
                <a:solidFill>
                  <a:prstClr val="white"/>
                </a:solidFill>
              </a:rPr>
            </a:br>
            <a:r>
              <a:rPr lang="en-US" sz="488" dirty="0">
                <a:solidFill>
                  <a:prstClr val="white"/>
                </a:solidFill>
              </a:rPr>
              <a:t>[To edit, click View &gt; Slide Master &gt; Slide master1]</a:t>
            </a:r>
          </a:p>
        </p:txBody>
      </p:sp>
      <p:sp>
        <p:nvSpPr>
          <p:cNvPr id="15"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8 Deloitte Development LLC. All rights reserved.</a:t>
            </a:r>
          </a:p>
        </p:txBody>
      </p:sp>
      <p:sp>
        <p:nvSpPr>
          <p:cNvPr id="16" name="TextBox 15"/>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322532955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352425" y="1590676"/>
            <a:ext cx="6772203" cy="4708525"/>
          </a:xfrm>
          <a:prstGeom prst="rect">
            <a:avLst/>
          </a:prstGeom>
        </p:spPr>
        <p:txBody>
          <a:bodyPr>
            <a:no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125929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52426" y="1665291"/>
            <a:ext cx="7011590" cy="4633910"/>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83665740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5C91EE1B-9FDF-4981-A4FB-9B9DBB745997}" type="slidenum">
              <a:rPr lang="en-US"/>
              <a:pPr/>
              <a:t>‹#›</a:t>
            </a:fld>
            <a:endParaRPr lang="en-US"/>
          </a:p>
        </p:txBody>
      </p:sp>
    </p:spTree>
    <p:extLst>
      <p:ext uri="{BB962C8B-B14F-4D97-AF65-F5344CB8AC3E}">
        <p14:creationId xmlns:p14="http://schemas.microsoft.com/office/powerpoint/2010/main" val="37359684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203651" y="1700213"/>
            <a:ext cx="4587925" cy="4598988"/>
          </a:xfrm>
        </p:spPr>
        <p:txBody>
          <a:bodyPr/>
          <a:lstStyle/>
          <a:p>
            <a:r>
              <a:rPr lang="en-US" noProof="0" dirty="0"/>
              <a:t>Click icon to add picture</a:t>
            </a:r>
          </a:p>
        </p:txBody>
      </p:sp>
      <p:sp>
        <p:nvSpPr>
          <p:cNvPr id="6" name="Content Placeholder 3"/>
          <p:cNvSpPr>
            <a:spLocks noGrp="1"/>
          </p:cNvSpPr>
          <p:nvPr>
            <p:ph sz="quarter" idx="10"/>
          </p:nvPr>
        </p:nvSpPr>
        <p:spPr>
          <a:xfrm>
            <a:off x="352426" y="1665290"/>
            <a:ext cx="3250247" cy="463391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186341836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352425" y="1665290"/>
            <a:ext cx="843915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232952227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
        <p:nvSpPr>
          <p:cNvPr id="8" name="Text Placeholder 18"/>
          <p:cNvSpPr>
            <a:spLocks noGrp="1"/>
          </p:cNvSpPr>
          <p:nvPr>
            <p:ph idx="1"/>
          </p:nvPr>
        </p:nvSpPr>
        <p:spPr>
          <a:xfrm>
            <a:off x="352425" y="1665818"/>
            <a:ext cx="8439150" cy="4633383"/>
          </a:xfrm>
          <a:prstGeom prst="rect">
            <a:avLst/>
          </a:prstGeom>
        </p:spPr>
        <p:txBody>
          <a:bodyPr vert="horz" lIns="0" tIns="0" rIns="0" bIns="0" rtlCol="0">
            <a:noAutofit/>
          </a:bodyPr>
          <a:lstStyle>
            <a:lvl1pPr marL="0" indent="0" algn="l">
              <a:buFontTx/>
              <a:buNone/>
              <a:defRPr/>
            </a:lvl1pPr>
            <a:lvl2pPr marL="95250" indent="-95250" algn="l">
              <a:buClrTx/>
              <a:buSzPct val="100000"/>
              <a:buFont typeface="Arial" panose="020B0604020202020204" pitchFamily="34" charset="0"/>
              <a:buChar char="•"/>
              <a:defRPr/>
            </a:lvl2pPr>
            <a:lvl3pPr marL="209550" indent="-95250" algn="l">
              <a:buClrTx/>
              <a:buSzPct val="100000"/>
              <a:buFont typeface="Arial" panose="020B0604020202020204" pitchFamily="34" charset="0"/>
              <a:buChar char="−"/>
              <a:defRPr/>
            </a:lvl3pPr>
            <a:lvl4pPr marL="323850" indent="-95250" algn="l">
              <a:buClrTx/>
              <a:buSzPct val="100000"/>
              <a:buFont typeface="Arial" panose="020B0604020202020204" pitchFamily="34" charset="0"/>
              <a:buChar char="◦"/>
              <a:defRPr/>
            </a:lvl4pPr>
            <a:lvl5pPr marL="438150" indent="-9525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7927501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352425" y="1676403"/>
            <a:ext cx="8439150" cy="4622799"/>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324963191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51000" y="2054582"/>
            <a:ext cx="843915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51000" y="1659816"/>
            <a:ext cx="843915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80627402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51000" y="2052000"/>
            <a:ext cx="27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51000" y="1665289"/>
            <a:ext cx="27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2000" y="2051999"/>
            <a:ext cx="27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2002" y="1665288"/>
            <a:ext cx="27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65220" y="2052000"/>
            <a:ext cx="27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65219" y="1659145"/>
            <a:ext cx="27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52425" y="402587"/>
            <a:ext cx="8439150" cy="334101"/>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348327818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351000" y="1665289"/>
            <a:ext cx="3996000" cy="462250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95575" y="1656001"/>
            <a:ext cx="3996000" cy="463179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245449538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52425" y="1665289"/>
            <a:ext cx="3323893" cy="463391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111575" y="1700214"/>
            <a:ext cx="4680000" cy="4598989"/>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71444559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352425" y="1665288"/>
            <a:ext cx="3996000" cy="4633912"/>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95575" y="1665288"/>
            <a:ext cx="3996000" cy="4633912"/>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87087842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52425" y="1665288"/>
            <a:ext cx="4110300" cy="4317502"/>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679688" y="2125014"/>
            <a:ext cx="4111887"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4679688" y="1655764"/>
            <a:ext cx="4111887"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41589553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76011B74-7792-4A6B-8ACA-F934D153759F}" type="slidenum">
              <a:rPr lang="en-US"/>
              <a:pPr/>
              <a:t>‹#›</a:t>
            </a:fld>
            <a:endParaRPr lang="en-US"/>
          </a:p>
        </p:txBody>
      </p:sp>
    </p:spTree>
    <p:extLst>
      <p:ext uri="{BB962C8B-B14F-4D97-AF65-F5344CB8AC3E}">
        <p14:creationId xmlns:p14="http://schemas.microsoft.com/office/powerpoint/2010/main" val="356336367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79688" y="2125014"/>
            <a:ext cx="4111887"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4679689" y="1654029"/>
            <a:ext cx="4111887"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352425" y="2125014"/>
            <a:ext cx="4111888"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352424" y="1665289"/>
            <a:ext cx="4111888"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406665510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591338" y="1626100"/>
            <a:ext cx="3200237" cy="4673101"/>
          </a:xfrm>
          <a:prstGeom prst="rect">
            <a:avLst/>
          </a:prstGeom>
        </p:spPr>
        <p:txBody>
          <a:bodyPr>
            <a:noAutofit/>
          </a:bodyPr>
          <a:lstStyle>
            <a:lvl1pPr>
              <a:tabLst>
                <a:tab pos="5029074" algn="r"/>
              </a:tabLst>
              <a:defRPr sz="18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52425" y="1665288"/>
            <a:ext cx="4995650" cy="4633913"/>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53197832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366557" y="1700213"/>
            <a:ext cx="1998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505780" y="1700212"/>
            <a:ext cx="1998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45004" y="1700212"/>
            <a:ext cx="1998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84227" y="1700212"/>
            <a:ext cx="1998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61772" y="3076573"/>
            <a:ext cx="1980000" cy="3222628"/>
          </a:xfrm>
        </p:spPr>
        <p:txBody>
          <a:bodyPr/>
          <a:lstStyle>
            <a:lvl1pPr marL="0" indent="0">
              <a:defRPr b="1">
                <a:solidFill>
                  <a:schemeClr val="tx1"/>
                </a:solidFill>
              </a:defRPr>
            </a:lvl1pPr>
            <a:lvl2pPr marL="95250" indent="-95250" algn="l">
              <a:spcAft>
                <a:spcPts val="0"/>
              </a:spcAft>
              <a:buClrTx/>
              <a:buSzPct val="100000"/>
              <a:buFont typeface="Arial" panose="020B0604020202020204" pitchFamily="34" charset="0"/>
              <a:buChar char="•"/>
              <a:defRPr>
                <a:solidFill>
                  <a:schemeClr val="tx1"/>
                </a:solidFill>
              </a:defRPr>
            </a:lvl2pPr>
            <a:lvl3pPr marL="209550" indent="-95250" algn="l">
              <a:spcAft>
                <a:spcPts val="0"/>
              </a:spcAft>
              <a:buClrTx/>
              <a:buSzPct val="100000"/>
              <a:buFont typeface="Arial" panose="020B0604020202020204" pitchFamily="34" charset="0"/>
              <a:buChar char="−"/>
              <a:defRPr>
                <a:solidFill>
                  <a:schemeClr val="tx1"/>
                </a:solidFill>
              </a:defRPr>
            </a:lvl3pPr>
            <a:lvl4pPr marL="323850" indent="-95250" algn="l">
              <a:spcAft>
                <a:spcPts val="0"/>
              </a:spcAft>
              <a:buClrTx/>
              <a:buSzPct val="100000"/>
              <a:buFont typeface="Arial" panose="020B0604020202020204" pitchFamily="34" charset="0"/>
              <a:buChar char="◦"/>
              <a:defRPr>
                <a:solidFill>
                  <a:schemeClr val="tx1"/>
                </a:solidFill>
              </a:defRPr>
            </a:lvl4pPr>
            <a:lvl5pPr marL="438150" indent="-95250" algn="l">
              <a:spcAft>
                <a:spcPts val="0"/>
              </a:spcAft>
              <a:buClrTx/>
              <a:buSzPct val="100000"/>
              <a:buFont typeface="Arial" panose="020B0604020202020204" pitchFamily="34" charset="0"/>
              <a:buChar char="−"/>
              <a:defRPr baseline="0">
                <a:solidFill>
                  <a:schemeClr val="tx1"/>
                </a:solidFill>
              </a:defRPr>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55408" y="3079742"/>
            <a:ext cx="1980000" cy="3222628"/>
          </a:xfrm>
        </p:spPr>
        <p:txBody>
          <a:bodyPr/>
          <a:lstStyle>
            <a:lvl1pPr marL="0" indent="0">
              <a:defRPr b="1">
                <a:solidFill>
                  <a:schemeClr val="tx1"/>
                </a:solidFill>
              </a:defRPr>
            </a:lvl1pPr>
            <a:lvl2pPr marL="95250" indent="-95250" algn="l">
              <a:spcAft>
                <a:spcPts val="0"/>
              </a:spcAft>
              <a:buClrTx/>
              <a:buSzPct val="100000"/>
              <a:buFont typeface="Arial" panose="020B0604020202020204" pitchFamily="34" charset="0"/>
              <a:buChar char="•"/>
              <a:defRPr>
                <a:solidFill>
                  <a:schemeClr val="tx1"/>
                </a:solidFill>
              </a:defRPr>
            </a:lvl2pPr>
            <a:lvl3pPr marL="209550" indent="-95250" algn="l">
              <a:spcAft>
                <a:spcPts val="0"/>
              </a:spcAft>
              <a:buClrTx/>
              <a:buSzPct val="100000"/>
              <a:buFont typeface="Arial" panose="020B0604020202020204" pitchFamily="34" charset="0"/>
              <a:buChar char="−"/>
              <a:defRPr>
                <a:solidFill>
                  <a:schemeClr val="tx1"/>
                </a:solidFill>
              </a:defRPr>
            </a:lvl3pPr>
            <a:lvl4pPr marL="323850" indent="-95250" algn="l">
              <a:spcAft>
                <a:spcPts val="0"/>
              </a:spcAft>
              <a:buClrTx/>
              <a:buSzPct val="100000"/>
              <a:buFont typeface="Arial" panose="020B0604020202020204" pitchFamily="34" charset="0"/>
              <a:buChar char="◦"/>
              <a:defRPr>
                <a:solidFill>
                  <a:schemeClr val="tx1"/>
                </a:solidFill>
              </a:defRPr>
            </a:lvl4pPr>
            <a:lvl5pPr marL="438150" indent="-95250" algn="l">
              <a:spcAft>
                <a:spcPts val="0"/>
              </a:spcAft>
              <a:buClrTx/>
              <a:buSzPct val="100000"/>
              <a:buFont typeface="Arial" panose="020B0604020202020204" pitchFamily="34" charset="0"/>
              <a:buChar char="−"/>
              <a:defRPr baseline="0">
                <a:solidFill>
                  <a:schemeClr val="tx1"/>
                </a:solidFill>
              </a:defRPr>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508590" y="3076573"/>
            <a:ext cx="1980000" cy="3222628"/>
          </a:xfrm>
        </p:spPr>
        <p:txBody>
          <a:bodyPr/>
          <a:lstStyle>
            <a:lvl1pPr marL="0" indent="0">
              <a:defRPr b="1">
                <a:solidFill>
                  <a:schemeClr val="tx1"/>
                </a:solidFill>
              </a:defRPr>
            </a:lvl1pPr>
            <a:lvl2pPr marL="95250" indent="-95250" algn="l">
              <a:spcAft>
                <a:spcPts val="0"/>
              </a:spcAft>
              <a:buClrTx/>
              <a:buSzPct val="100000"/>
              <a:buFont typeface="Arial" panose="020B0604020202020204" pitchFamily="34" charset="0"/>
              <a:buChar char="•"/>
              <a:defRPr>
                <a:solidFill>
                  <a:schemeClr val="tx1"/>
                </a:solidFill>
              </a:defRPr>
            </a:lvl2pPr>
            <a:lvl3pPr marL="209550" indent="-95250" algn="l">
              <a:spcAft>
                <a:spcPts val="0"/>
              </a:spcAft>
              <a:buClrTx/>
              <a:buSzPct val="100000"/>
              <a:buFont typeface="Arial" panose="020B0604020202020204" pitchFamily="34" charset="0"/>
              <a:buChar char="−"/>
              <a:defRPr>
                <a:solidFill>
                  <a:schemeClr val="tx1"/>
                </a:solidFill>
              </a:defRPr>
            </a:lvl3pPr>
            <a:lvl4pPr marL="323850" indent="-95250" algn="l">
              <a:spcAft>
                <a:spcPts val="0"/>
              </a:spcAft>
              <a:buClrTx/>
              <a:buSzPct val="100000"/>
              <a:buFont typeface="Arial" panose="020B0604020202020204" pitchFamily="34" charset="0"/>
              <a:buChar char="◦"/>
              <a:defRPr>
                <a:solidFill>
                  <a:schemeClr val="tx1"/>
                </a:solidFill>
              </a:defRPr>
            </a:lvl4pPr>
            <a:lvl5pPr marL="438150" indent="-95250" algn="l">
              <a:spcAft>
                <a:spcPts val="0"/>
              </a:spcAft>
              <a:buClrTx/>
              <a:buSzPct val="100000"/>
              <a:buFont typeface="Arial" panose="020B0604020202020204" pitchFamily="34" charset="0"/>
              <a:buChar char="−"/>
              <a:defRPr baseline="0">
                <a:solidFill>
                  <a:schemeClr val="tx1"/>
                </a:solidFill>
              </a:defRPr>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802227" y="3079742"/>
            <a:ext cx="1980000" cy="3222628"/>
          </a:xfrm>
        </p:spPr>
        <p:txBody>
          <a:bodyPr/>
          <a:lstStyle>
            <a:lvl1pPr marL="0" indent="0">
              <a:defRPr b="1">
                <a:solidFill>
                  <a:schemeClr val="tx1"/>
                </a:solidFill>
              </a:defRPr>
            </a:lvl1pPr>
            <a:lvl2pPr marL="95250" indent="-95250" algn="l">
              <a:spcAft>
                <a:spcPts val="0"/>
              </a:spcAft>
              <a:buClrTx/>
              <a:buSzPct val="100000"/>
              <a:buFont typeface="Arial" panose="020B0604020202020204" pitchFamily="34" charset="0"/>
              <a:buChar char="•"/>
              <a:defRPr>
                <a:solidFill>
                  <a:schemeClr val="tx1"/>
                </a:solidFill>
              </a:defRPr>
            </a:lvl2pPr>
            <a:lvl3pPr marL="209550" indent="-95250" algn="l">
              <a:spcAft>
                <a:spcPts val="0"/>
              </a:spcAft>
              <a:buClrTx/>
              <a:buSzPct val="100000"/>
              <a:buFont typeface="Arial" panose="020B0604020202020204" pitchFamily="34" charset="0"/>
              <a:buChar char="−"/>
              <a:defRPr>
                <a:solidFill>
                  <a:schemeClr val="tx1"/>
                </a:solidFill>
              </a:defRPr>
            </a:lvl3pPr>
            <a:lvl4pPr marL="323850" indent="-95250" algn="l">
              <a:spcAft>
                <a:spcPts val="0"/>
              </a:spcAft>
              <a:buClrTx/>
              <a:buSzPct val="100000"/>
              <a:buFont typeface="Arial" panose="020B0604020202020204" pitchFamily="34" charset="0"/>
              <a:buChar char="◦"/>
              <a:defRPr>
                <a:solidFill>
                  <a:schemeClr val="tx1"/>
                </a:solidFill>
              </a:defRPr>
            </a:lvl4pPr>
            <a:lvl5pPr marL="438150" indent="-95250" algn="l">
              <a:spcAft>
                <a:spcPts val="0"/>
              </a:spcAft>
              <a:buClrTx/>
              <a:buSzPct val="100000"/>
              <a:buFont typeface="Arial" panose="020B0604020202020204" pitchFamily="34" charset="0"/>
              <a:buChar char="−"/>
              <a:defRPr baseline="0">
                <a:solidFill>
                  <a:schemeClr val="tx1"/>
                </a:solidFill>
              </a:defRPr>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418227667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357585" y="170386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sz="1100" dirty="0">
              <a:solidFill>
                <a:prstClr val="white"/>
              </a:solidFill>
            </a:endParaRPr>
          </a:p>
        </p:txBody>
      </p:sp>
      <p:sp>
        <p:nvSpPr>
          <p:cNvPr id="5" name="Rectangle 4"/>
          <p:cNvSpPr/>
          <p:nvPr userDrawn="1"/>
        </p:nvSpPr>
        <p:spPr>
          <a:xfrm>
            <a:off x="4638675" y="170386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sz="1100" dirty="0">
              <a:solidFill>
                <a:prstClr val="white"/>
              </a:solidFill>
            </a:endParaRPr>
          </a:p>
        </p:txBody>
      </p:sp>
      <p:sp>
        <p:nvSpPr>
          <p:cNvPr id="6" name="Rectangle 5"/>
          <p:cNvSpPr/>
          <p:nvPr userDrawn="1"/>
        </p:nvSpPr>
        <p:spPr>
          <a:xfrm>
            <a:off x="35242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sz="1100" dirty="0">
              <a:solidFill>
                <a:prstClr val="white"/>
              </a:solidFill>
            </a:endParaRPr>
          </a:p>
        </p:txBody>
      </p:sp>
      <p:sp>
        <p:nvSpPr>
          <p:cNvPr id="7" name="Rectangle 6"/>
          <p:cNvSpPr/>
          <p:nvPr userDrawn="1"/>
        </p:nvSpPr>
        <p:spPr>
          <a:xfrm>
            <a:off x="4638675" y="4065173"/>
            <a:ext cx="4152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sz="1100" dirty="0">
              <a:solidFill>
                <a:prstClr val="white"/>
              </a:solidFill>
            </a:endParaRPr>
          </a:p>
        </p:txBody>
      </p:sp>
      <p:sp>
        <p:nvSpPr>
          <p:cNvPr id="8" name="Picture Placeholder 11"/>
          <p:cNvSpPr>
            <a:spLocks noGrp="1"/>
          </p:cNvSpPr>
          <p:nvPr>
            <p:ph type="pic" sz="quarter" idx="25"/>
          </p:nvPr>
        </p:nvSpPr>
        <p:spPr>
          <a:xfrm>
            <a:off x="357585" y="1880213"/>
            <a:ext cx="15876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53073" y="1880212"/>
            <a:ext cx="15876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61334" y="4256211"/>
            <a:ext cx="15876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53073" y="4256211"/>
            <a:ext cx="15876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130585" y="1880213"/>
            <a:ext cx="2379600" cy="1944000"/>
          </a:xfrm>
        </p:spPr>
        <p:txBody>
          <a:bodyPr/>
          <a:lstStyle>
            <a:lvl1pPr marL="0" indent="0" algn="l">
              <a:spcAft>
                <a:spcPts val="0"/>
              </a:spcAft>
              <a:buFontTx/>
              <a:buNone/>
              <a:defRPr b="1"/>
            </a:lvl1pPr>
            <a:lvl2pPr marL="95250" indent="-9525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413007" y="1880213"/>
            <a:ext cx="2378268" cy="1944000"/>
          </a:xfrm>
        </p:spPr>
        <p:txBody>
          <a:bodyPr/>
          <a:lstStyle>
            <a:lvl1pPr marL="0" indent="0" algn="l">
              <a:spcAft>
                <a:spcPts val="0"/>
              </a:spcAft>
              <a:buFontTx/>
              <a:buNone/>
              <a:defRPr b="1"/>
            </a:lvl1pPr>
            <a:lvl2pPr marL="95250" indent="-9525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101913" y="4256213"/>
            <a:ext cx="2379600" cy="1944000"/>
          </a:xfrm>
        </p:spPr>
        <p:txBody>
          <a:bodyPr/>
          <a:lstStyle>
            <a:lvl1pPr marL="0" indent="0" algn="l">
              <a:spcAft>
                <a:spcPts val="0"/>
              </a:spcAft>
              <a:buFontTx/>
              <a:buNone/>
              <a:defRPr b="1"/>
            </a:lvl1pPr>
            <a:lvl2pPr marL="95250" indent="-9525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411675" y="4256212"/>
            <a:ext cx="2379600" cy="1944000"/>
          </a:xfrm>
        </p:spPr>
        <p:txBody>
          <a:bodyPr/>
          <a:lstStyle>
            <a:lvl1pPr marL="0" indent="0" algn="l">
              <a:spcAft>
                <a:spcPts val="0"/>
              </a:spcAft>
              <a:buFontTx/>
              <a:buNone/>
              <a:defRPr b="1"/>
            </a:lvl1pPr>
            <a:lvl2pPr marL="95250" indent="-9525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61754618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358957" y="1700213"/>
            <a:ext cx="2729484"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6062088" y="1700214"/>
            <a:ext cx="2729487"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3213141" y="1700213"/>
            <a:ext cx="2727722" cy="2057767"/>
          </a:xfrm>
        </p:spPr>
        <p:txBody>
          <a:bodyPr/>
          <a:lstStyle/>
          <a:p>
            <a:r>
              <a:rPr lang="en-US" noProof="0" dirty="0"/>
              <a:t>Click icon to add picture</a:t>
            </a:r>
          </a:p>
        </p:txBody>
      </p:sp>
      <p:sp>
        <p:nvSpPr>
          <p:cNvPr id="9" name="Text Placeholder 18"/>
          <p:cNvSpPr>
            <a:spLocks noGrp="1"/>
          </p:cNvSpPr>
          <p:nvPr>
            <p:ph idx="1" hasCustomPrompt="1"/>
          </p:nvPr>
        </p:nvSpPr>
        <p:spPr>
          <a:xfrm>
            <a:off x="358957" y="3832225"/>
            <a:ext cx="2729484"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8735" y="3832224"/>
            <a:ext cx="272772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62088" y="3832225"/>
            <a:ext cx="2729487"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82255569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251472775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352425" y="402587"/>
            <a:ext cx="8439150" cy="334101"/>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352424" y="1857893"/>
            <a:ext cx="4158000" cy="1695451"/>
          </a:xfrm>
        </p:spPr>
        <p:txBody>
          <a:bodyPr/>
          <a:lstStyle>
            <a:lvl1pPr marL="0" indent="0" algn="l">
              <a:spcAft>
                <a:spcPts val="1000"/>
              </a:spcAft>
              <a:buFontTx/>
              <a:buNone/>
              <a:defRPr b="1">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4633097" y="1857893"/>
            <a:ext cx="4158000" cy="1695451"/>
          </a:xfrm>
        </p:spPr>
        <p:txBody>
          <a:bodyPr/>
          <a:lstStyle>
            <a:lvl1pPr marL="0" indent="0" algn="l">
              <a:spcAft>
                <a:spcPts val="1000"/>
              </a:spcAft>
              <a:buFontTx/>
              <a:buNone/>
              <a:defRPr b="1">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spcAft>
                <a:spcPts val="1000"/>
              </a:spcAft>
            </a:pPr>
            <a:endParaRPr lang="en-US" sz="1100" dirty="0">
              <a:solidFill>
                <a:prstClr val="white"/>
              </a:solidFill>
            </a:endParaRPr>
          </a:p>
        </p:txBody>
      </p:sp>
      <p:sp>
        <p:nvSpPr>
          <p:cNvPr id="18" name="Rectangle 17"/>
          <p:cNvSpPr/>
          <p:nvPr userDrawn="1"/>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spcAft>
                <a:spcPts val="1000"/>
              </a:spcAft>
            </a:pPr>
            <a:endParaRPr lang="en-US" sz="1100" dirty="0">
              <a:solidFill>
                <a:prstClr val="white"/>
              </a:solidFill>
            </a:endParaRPr>
          </a:p>
        </p:txBody>
      </p:sp>
      <p:sp>
        <p:nvSpPr>
          <p:cNvPr id="19" name="Picture Placeholder 29"/>
          <p:cNvSpPr>
            <a:spLocks noGrp="1"/>
          </p:cNvSpPr>
          <p:nvPr>
            <p:ph type="pic" sz="quarter" idx="20" hasCustomPrompt="1"/>
          </p:nvPr>
        </p:nvSpPr>
        <p:spPr>
          <a:xfrm>
            <a:off x="7850727" y="1857893"/>
            <a:ext cx="933121" cy="549275"/>
          </a:xfrm>
        </p:spPr>
        <p:txBody>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3551096" y="1863918"/>
            <a:ext cx="933680" cy="549275"/>
          </a:xfrm>
        </p:spPr>
        <p:txBody>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94843103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52424" y="1857893"/>
            <a:ext cx="4158000" cy="1695451"/>
          </a:xfrm>
        </p:spPr>
        <p:txBody>
          <a:bodyPr>
            <a:noAutofit/>
          </a:bodyPr>
          <a:lstStyle>
            <a:lvl1pPr marL="0" indent="0">
              <a:spcAft>
                <a:spcPts val="1000"/>
              </a:spcAft>
              <a:defRPr b="1">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33097" y="1857893"/>
            <a:ext cx="4158000" cy="1695451"/>
          </a:xfrm>
        </p:spPr>
        <p:txBody>
          <a:bodyPr>
            <a:noAutofit/>
          </a:bodyPr>
          <a:lstStyle>
            <a:lvl1pPr marL="0" indent="0">
              <a:spcAft>
                <a:spcPts val="1000"/>
              </a:spcAft>
              <a:defRPr b="1">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352424"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914378">
              <a:spcAft>
                <a:spcPts val="1000"/>
              </a:spcAft>
            </a:pPr>
            <a:endParaRPr lang="en-US" sz="1100" dirty="0">
              <a:solidFill>
                <a:prstClr val="white"/>
              </a:solidFill>
            </a:endParaRPr>
          </a:p>
        </p:txBody>
      </p:sp>
      <p:sp>
        <p:nvSpPr>
          <p:cNvPr id="5" name="Rectangle 4"/>
          <p:cNvSpPr/>
          <p:nvPr userDrawn="1"/>
        </p:nvSpPr>
        <p:spPr>
          <a:xfrm>
            <a:off x="4625847" y="1705379"/>
            <a:ext cx="4158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914378">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50727" y="1857893"/>
            <a:ext cx="933121" cy="549275"/>
          </a:xfr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52424" y="4249682"/>
            <a:ext cx="4158000" cy="1695451"/>
          </a:xfrm>
        </p:spPr>
        <p:txBody>
          <a:bodyPr>
            <a:noAutofit/>
          </a:bodyPr>
          <a:lstStyle>
            <a:lvl1pPr marL="0" indent="0">
              <a:spcAft>
                <a:spcPts val="1000"/>
              </a:spcAft>
              <a:defRPr b="1">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33095" y="4249682"/>
            <a:ext cx="4158000" cy="1695451"/>
          </a:xfrm>
        </p:spPr>
        <p:txBody>
          <a:bodyPr>
            <a:noAutofit/>
          </a:bodyPr>
          <a:lstStyle>
            <a:lvl1pPr marL="0" indent="0">
              <a:spcAft>
                <a:spcPts val="1000"/>
              </a:spcAft>
              <a:defRPr b="1">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352424"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914378">
              <a:spcAft>
                <a:spcPts val="1000"/>
              </a:spcAft>
            </a:pPr>
            <a:endParaRPr lang="en-US" sz="1100" dirty="0">
              <a:solidFill>
                <a:prstClr val="white"/>
              </a:solidFill>
            </a:endParaRPr>
          </a:p>
        </p:txBody>
      </p:sp>
      <p:sp>
        <p:nvSpPr>
          <p:cNvPr id="13" name="Rectangle 12"/>
          <p:cNvSpPr/>
          <p:nvPr userDrawn="1"/>
        </p:nvSpPr>
        <p:spPr>
          <a:xfrm>
            <a:off x="4625847" y="4103519"/>
            <a:ext cx="415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914378">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25327" y="4249684"/>
            <a:ext cx="956187" cy="549275"/>
          </a:xfr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4277" y="4248210"/>
            <a:ext cx="933120" cy="549275"/>
          </a:xfr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3551096" y="1863918"/>
            <a:ext cx="933680" cy="549275"/>
          </a:xfr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20439800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3208735" y="1705968"/>
            <a:ext cx="272772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sz="1100" dirty="0">
              <a:solidFill>
                <a:prstClr val="white"/>
              </a:solidFill>
            </a:endParaRPr>
          </a:p>
        </p:txBody>
      </p:sp>
      <p:sp>
        <p:nvSpPr>
          <p:cNvPr id="5" name="Rectangle 4"/>
          <p:cNvSpPr/>
          <p:nvPr userDrawn="1"/>
        </p:nvSpPr>
        <p:spPr>
          <a:xfrm>
            <a:off x="352425" y="1705968"/>
            <a:ext cx="272057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sz="1100" dirty="0">
              <a:solidFill>
                <a:prstClr val="white"/>
              </a:solidFill>
            </a:endParaRPr>
          </a:p>
        </p:txBody>
      </p:sp>
      <p:sp>
        <p:nvSpPr>
          <p:cNvPr id="6" name="Rectangle 5"/>
          <p:cNvSpPr/>
          <p:nvPr userDrawn="1"/>
        </p:nvSpPr>
        <p:spPr>
          <a:xfrm>
            <a:off x="6078132" y="1705968"/>
            <a:ext cx="272176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sz="1100" dirty="0">
              <a:solidFill>
                <a:prstClr val="white"/>
              </a:solidFill>
            </a:endParaRPr>
          </a:p>
        </p:txBody>
      </p:sp>
      <p:sp>
        <p:nvSpPr>
          <p:cNvPr id="7" name="Text Placeholder 8"/>
          <p:cNvSpPr>
            <a:spLocks noGrp="1"/>
          </p:cNvSpPr>
          <p:nvPr>
            <p:ph type="body" sz="quarter" idx="17"/>
          </p:nvPr>
        </p:nvSpPr>
        <p:spPr>
          <a:xfrm>
            <a:off x="3208735" y="1851441"/>
            <a:ext cx="2722626" cy="3845755"/>
          </a:xfrm>
        </p:spPr>
        <p:txBody>
          <a:bodyPr/>
          <a:lstStyle>
            <a:lvl1pPr marL="0" indent="0" algn="l">
              <a:buFontTx/>
              <a:buNone/>
              <a:defRPr b="1">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52425" y="1851441"/>
            <a:ext cx="2720579" cy="3845755"/>
          </a:xfrm>
        </p:spPr>
        <p:txBody>
          <a:bodyPr/>
          <a:lstStyle>
            <a:lvl1pPr marL="0" indent="0" algn="l">
              <a:buFontTx/>
              <a:buNone/>
              <a:defRPr b="1">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69807" y="1851441"/>
            <a:ext cx="2721769" cy="3845755"/>
          </a:xfrm>
        </p:spPr>
        <p:txBody>
          <a:bodyPr/>
          <a:lstStyle>
            <a:lvl1pPr marL="0" indent="0" algn="l">
              <a:buFontTx/>
              <a:buNone/>
              <a:defRPr b="1">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357886387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52425" y="2556000"/>
            <a:ext cx="1944000" cy="3394800"/>
          </a:xfrm>
        </p:spPr>
        <p:txBody>
          <a:bodyPr/>
          <a:lstStyle>
            <a:lvl1pPr marL="0" indent="0" algn="l">
              <a:buFontTx/>
              <a:buNone/>
              <a:defRPr b="0">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47575" y="2556000"/>
            <a:ext cx="1944000" cy="3394800"/>
          </a:xfrm>
        </p:spPr>
        <p:txBody>
          <a:bodyPr/>
          <a:lstStyle>
            <a:lvl1pPr marL="0" indent="0" algn="l">
              <a:buFontTx/>
              <a:buNone/>
              <a:defRPr b="0">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17475" y="2556000"/>
            <a:ext cx="1944000" cy="3394800"/>
          </a:xfrm>
        </p:spPr>
        <p:txBody>
          <a:bodyPr/>
          <a:lstStyle>
            <a:lvl1pPr marL="0" indent="0" algn="l">
              <a:buFontTx/>
              <a:buNone/>
              <a:defRPr b="0">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82525" y="2556000"/>
            <a:ext cx="1944000" cy="3394800"/>
          </a:xfrm>
        </p:spPr>
        <p:txBody>
          <a:bodyPr/>
          <a:lstStyle>
            <a:lvl1pPr marL="0" indent="0" algn="l">
              <a:buFontTx/>
              <a:buNone/>
              <a:defRPr b="0">
                <a:solidFill>
                  <a:schemeClr val="tx1"/>
                </a:solidFill>
              </a:defRPr>
            </a:lvl1pPr>
            <a:lvl2pPr marL="95250" indent="-95250" algn="l">
              <a:spcAft>
                <a:spcPts val="1000"/>
              </a:spcAft>
              <a:buClrTx/>
              <a:buSzPct val="100000"/>
              <a:buFont typeface="Arial" panose="020B0604020202020204" pitchFamily="34" charset="0"/>
              <a:buChar char="•"/>
              <a:defRPr>
                <a:solidFill>
                  <a:schemeClr val="tx1"/>
                </a:solidFill>
              </a:defRPr>
            </a:lvl2pPr>
            <a:lvl3pPr marL="209550" indent="-95250" algn="l">
              <a:spcAft>
                <a:spcPts val="1000"/>
              </a:spcAft>
              <a:buClrTx/>
              <a:buSzPct val="100000"/>
              <a:buFont typeface="Arial" panose="020B0604020202020204" pitchFamily="34" charset="0"/>
              <a:buChar char="−"/>
              <a:defRPr>
                <a:solidFill>
                  <a:schemeClr val="tx1"/>
                </a:solidFill>
              </a:defRPr>
            </a:lvl3pPr>
            <a:lvl4pPr marL="323850" indent="-95250" algn="l">
              <a:spcAft>
                <a:spcPts val="1000"/>
              </a:spcAft>
              <a:buClrTx/>
              <a:buSzPct val="100000"/>
              <a:buFont typeface="Arial" panose="020B0604020202020204" pitchFamily="34" charset="0"/>
              <a:buChar char="◦"/>
              <a:defRPr>
                <a:solidFill>
                  <a:schemeClr val="tx1"/>
                </a:solidFill>
              </a:defRPr>
            </a:lvl4pPr>
            <a:lvl5pPr marL="438150" indent="-95250" algn="l">
              <a:spcAft>
                <a:spcPts val="1000"/>
              </a:spcAft>
              <a:buClrTx/>
              <a:buSzPct val="100000"/>
              <a:buFont typeface="Arial" panose="020B0604020202020204" pitchFamily="34" charset="0"/>
              <a:buChar char="−"/>
              <a:defRPr baseline="0">
                <a:solidFill>
                  <a:schemeClr val="tx1"/>
                </a:solidFill>
              </a:defRPr>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235462664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4AC66465-69F2-4C04-B4FA-076985757988}" type="slidenum">
              <a:rPr lang="en-US"/>
              <a:pPr/>
              <a:t>‹#›</a:t>
            </a:fld>
            <a:endParaRPr lang="en-US"/>
          </a:p>
        </p:txBody>
      </p:sp>
    </p:spTree>
    <p:extLst>
      <p:ext uri="{BB962C8B-B14F-4D97-AF65-F5344CB8AC3E}">
        <p14:creationId xmlns:p14="http://schemas.microsoft.com/office/powerpoint/2010/main" val="289755532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52427" y="2556000"/>
            <a:ext cx="1944000" cy="3394800"/>
          </a:xfrm>
        </p:spPr>
        <p:txBody>
          <a:bodyPr/>
          <a:lstStyle>
            <a:lvl1pPr marL="0" indent="0" algn="l">
              <a:buFontTx/>
              <a:buNone/>
              <a:defRPr b="0">
                <a:solidFill>
                  <a:schemeClr val="bg1"/>
                </a:solidFill>
              </a:defRPr>
            </a:lvl1pPr>
            <a:lvl2pPr marL="95250" indent="-95250" algn="l">
              <a:spcAft>
                <a:spcPts val="1000"/>
              </a:spcAft>
              <a:buClrTx/>
              <a:buSzPct val="100000"/>
              <a:buFont typeface="Arial" panose="020B0604020202020204" pitchFamily="34" charset="0"/>
              <a:buChar char="•"/>
              <a:defRPr>
                <a:solidFill>
                  <a:schemeClr val="bg1"/>
                </a:solidFill>
              </a:defRPr>
            </a:lvl2pPr>
            <a:lvl3pPr marL="209550" indent="-95250" algn="l">
              <a:spcAft>
                <a:spcPts val="1000"/>
              </a:spcAft>
              <a:buClrTx/>
              <a:buSzPct val="100000"/>
              <a:buFont typeface="Arial" panose="020B0604020202020204" pitchFamily="34" charset="0"/>
              <a:buChar char="−"/>
              <a:defRPr>
                <a:solidFill>
                  <a:schemeClr val="bg1"/>
                </a:solidFill>
              </a:defRPr>
            </a:lvl3pPr>
            <a:lvl4pPr marL="323850" indent="-95250" algn="l">
              <a:spcAft>
                <a:spcPts val="1000"/>
              </a:spcAft>
              <a:buClrTx/>
              <a:buSzPct val="100000"/>
              <a:buFont typeface="Arial" panose="020B0604020202020204" pitchFamily="34" charset="0"/>
              <a:buChar char="◦"/>
              <a:defRPr>
                <a:solidFill>
                  <a:schemeClr val="bg1"/>
                </a:solidFill>
              </a:defRPr>
            </a:lvl4pPr>
            <a:lvl5pPr marL="438150" indent="-95250"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47575" y="2556000"/>
            <a:ext cx="1944000" cy="3394800"/>
          </a:xfrm>
        </p:spPr>
        <p:txBody>
          <a:bodyPr/>
          <a:lstStyle>
            <a:lvl1pPr marL="0" indent="0" algn="l">
              <a:buFontTx/>
              <a:buNone/>
              <a:defRPr b="0">
                <a:solidFill>
                  <a:schemeClr val="bg1"/>
                </a:solidFill>
              </a:defRPr>
            </a:lvl1pPr>
            <a:lvl2pPr marL="95250" indent="-95250" algn="l">
              <a:spcAft>
                <a:spcPts val="1000"/>
              </a:spcAft>
              <a:buClrTx/>
              <a:buSzPct val="100000"/>
              <a:buFont typeface="Arial" panose="020B0604020202020204" pitchFamily="34" charset="0"/>
              <a:buChar char="•"/>
              <a:defRPr>
                <a:solidFill>
                  <a:schemeClr val="bg1"/>
                </a:solidFill>
              </a:defRPr>
            </a:lvl2pPr>
            <a:lvl3pPr marL="209550" indent="-95250" algn="l">
              <a:spcAft>
                <a:spcPts val="1000"/>
              </a:spcAft>
              <a:buClrTx/>
              <a:buSzPct val="100000"/>
              <a:buFont typeface="Arial" panose="020B0604020202020204" pitchFamily="34" charset="0"/>
              <a:buChar char="−"/>
              <a:defRPr>
                <a:solidFill>
                  <a:schemeClr val="bg1"/>
                </a:solidFill>
              </a:defRPr>
            </a:lvl3pPr>
            <a:lvl4pPr marL="323850" indent="-95250" algn="l">
              <a:spcAft>
                <a:spcPts val="1000"/>
              </a:spcAft>
              <a:buClrTx/>
              <a:buSzPct val="100000"/>
              <a:buFont typeface="Arial" panose="020B0604020202020204" pitchFamily="34" charset="0"/>
              <a:buChar char="◦"/>
              <a:defRPr>
                <a:solidFill>
                  <a:schemeClr val="bg1"/>
                </a:solidFill>
              </a:defRPr>
            </a:lvl4pPr>
            <a:lvl5pPr marL="438150" indent="-95250"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17476" y="2556000"/>
            <a:ext cx="1944000" cy="3394800"/>
          </a:xfrm>
        </p:spPr>
        <p:txBody>
          <a:bodyPr/>
          <a:lstStyle>
            <a:lvl1pPr marL="0" indent="0" algn="l">
              <a:buFontTx/>
              <a:buNone/>
              <a:defRPr b="0">
                <a:solidFill>
                  <a:schemeClr val="bg1"/>
                </a:solidFill>
              </a:defRPr>
            </a:lvl1pPr>
            <a:lvl2pPr marL="95250" indent="-95250" algn="l">
              <a:spcAft>
                <a:spcPts val="1000"/>
              </a:spcAft>
              <a:buClrTx/>
              <a:buSzPct val="100000"/>
              <a:buFont typeface="Arial" panose="020B0604020202020204" pitchFamily="34" charset="0"/>
              <a:buChar char="•"/>
              <a:defRPr>
                <a:solidFill>
                  <a:schemeClr val="bg1"/>
                </a:solidFill>
              </a:defRPr>
            </a:lvl2pPr>
            <a:lvl3pPr marL="209550" indent="-95250" algn="l">
              <a:spcAft>
                <a:spcPts val="1000"/>
              </a:spcAft>
              <a:buClrTx/>
              <a:buSzPct val="100000"/>
              <a:buFont typeface="Arial" panose="020B0604020202020204" pitchFamily="34" charset="0"/>
              <a:buChar char="−"/>
              <a:defRPr>
                <a:solidFill>
                  <a:schemeClr val="bg1"/>
                </a:solidFill>
              </a:defRPr>
            </a:lvl3pPr>
            <a:lvl4pPr marL="323850" indent="-95250" algn="l">
              <a:spcAft>
                <a:spcPts val="1000"/>
              </a:spcAft>
              <a:buClrTx/>
              <a:buSzPct val="100000"/>
              <a:buFont typeface="Arial" panose="020B0604020202020204" pitchFamily="34" charset="0"/>
              <a:buChar char="◦"/>
              <a:defRPr>
                <a:solidFill>
                  <a:schemeClr val="bg1"/>
                </a:solidFill>
              </a:defRPr>
            </a:lvl4pPr>
            <a:lvl5pPr marL="438150" indent="-95250"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82525" y="2556000"/>
            <a:ext cx="1944000" cy="3394800"/>
          </a:xfrm>
        </p:spPr>
        <p:txBody>
          <a:bodyPr/>
          <a:lstStyle>
            <a:lvl1pPr marL="0" indent="0" algn="l">
              <a:buFontTx/>
              <a:buNone/>
              <a:defRPr b="0">
                <a:solidFill>
                  <a:schemeClr val="bg1"/>
                </a:solidFill>
              </a:defRPr>
            </a:lvl1pPr>
            <a:lvl2pPr marL="95250" indent="-95250" algn="l">
              <a:spcAft>
                <a:spcPts val="1000"/>
              </a:spcAft>
              <a:buClrTx/>
              <a:buSzPct val="100000"/>
              <a:buFont typeface="Arial" panose="020B0604020202020204" pitchFamily="34" charset="0"/>
              <a:buChar char="•"/>
              <a:defRPr>
                <a:solidFill>
                  <a:schemeClr val="bg1"/>
                </a:solidFill>
              </a:defRPr>
            </a:lvl2pPr>
            <a:lvl3pPr marL="209550" indent="-95250" algn="l">
              <a:spcAft>
                <a:spcPts val="1000"/>
              </a:spcAft>
              <a:buClrTx/>
              <a:buSzPct val="100000"/>
              <a:buFont typeface="Arial" panose="020B0604020202020204" pitchFamily="34" charset="0"/>
              <a:buChar char="−"/>
              <a:defRPr>
                <a:solidFill>
                  <a:schemeClr val="bg1"/>
                </a:solidFill>
              </a:defRPr>
            </a:lvl3pPr>
            <a:lvl4pPr marL="323850" indent="-95250" algn="l">
              <a:spcAft>
                <a:spcPts val="1000"/>
              </a:spcAft>
              <a:buClrTx/>
              <a:buSzPct val="100000"/>
              <a:buFont typeface="Arial" panose="020B0604020202020204" pitchFamily="34" charset="0"/>
              <a:buChar char="◦"/>
              <a:defRPr>
                <a:solidFill>
                  <a:schemeClr val="bg1"/>
                </a:solidFill>
              </a:defRPr>
            </a:lvl4pPr>
            <a:lvl5pPr marL="438150" indent="-95250"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4752000" y="6477000"/>
            <a:ext cx="3672420" cy="150169"/>
          </a:xfrm>
          <a:prstGeom prst="rect">
            <a:avLst/>
          </a:prstGeom>
          <a:noFill/>
        </p:spPr>
        <p:txBody>
          <a:bodyPr wrap="square" lIns="0" tIns="0" rIns="0" bIns="0" rtlCol="0">
            <a:spAutoFit/>
          </a:bodyPr>
          <a:lstStyle/>
          <a:p>
            <a:pPr algn="r" defTabSz="914378">
              <a:buSzPct val="100000"/>
              <a:buFont typeface="Arial"/>
              <a:buNone/>
            </a:pPr>
            <a:r>
              <a:rPr lang="en-US" sz="488" dirty="0">
                <a:solidFill>
                  <a:prstClr val="white"/>
                </a:solidFill>
              </a:rPr>
              <a:t>Presentation title</a:t>
            </a:r>
            <a:br>
              <a:rPr lang="en-US" sz="488" dirty="0">
                <a:solidFill>
                  <a:prstClr val="white"/>
                </a:solidFill>
              </a:rPr>
            </a:br>
            <a:r>
              <a:rPr lang="en-US" sz="488" dirty="0">
                <a:solidFill>
                  <a:prstClr val="white"/>
                </a:solidFill>
              </a:rPr>
              <a:t>[To edit, click View &gt; Slide Master &gt; Slide master1]</a:t>
            </a:r>
          </a:p>
        </p:txBody>
      </p:sp>
      <p:sp>
        <p:nvSpPr>
          <p:cNvPr id="14"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15" name="TextBox 14"/>
          <p:cNvSpPr txBox="1"/>
          <p:nvPr userDrawn="1"/>
        </p:nvSpPr>
        <p:spPr>
          <a:xfrm>
            <a:off x="8536784" y="6477002"/>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
        <p:nvSpPr>
          <p:cNvPr id="16"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66487768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350837" y="1665818"/>
            <a:ext cx="4153298"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240386551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665289"/>
            <a:ext cx="6958012" cy="4716463"/>
          </a:xfrm>
          <a:prstGeom prst="rect">
            <a:avLst/>
          </a:prstGeom>
        </p:spPr>
        <p:txBody>
          <a:bodyPr/>
          <a:lstStyle>
            <a:lvl1pPr marL="0" indent="0" algn="l">
              <a:buFontTx/>
              <a:buNone/>
              <a:tabLst>
                <a:tab pos="5047060" algn="r"/>
              </a:tabLst>
              <a:defRPr/>
            </a:lvl1pPr>
            <a:lvl2pPr marL="95250" indent="-95250">
              <a:tabLst>
                <a:tab pos="5047060" algn="r"/>
              </a:tabLst>
              <a:defRPr/>
            </a:lvl2pPr>
            <a:lvl3pPr marL="209550" indent="-95250">
              <a:tabLst>
                <a:tab pos="5047060" algn="r"/>
              </a:tabLst>
              <a:defRPr/>
            </a:lvl3pPr>
            <a:lvl4pPr marL="323850" indent="-95250">
              <a:tabLst>
                <a:tab pos="5047060" algn="r"/>
              </a:tabLst>
              <a:defRPr/>
            </a:lvl4pPr>
            <a:lvl5pPr marL="438150" indent="-95250">
              <a:tabLst>
                <a:tab pos="3771900" algn="r"/>
              </a:tabLst>
              <a:defRPr baseline="0"/>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501"/>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33421758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Splash Logo ">
    <p:spTree>
      <p:nvGrpSpPr>
        <p:cNvPr id="1" name=""/>
        <p:cNvGrpSpPr/>
        <p:nvPr/>
      </p:nvGrpSpPr>
      <p:grpSpPr>
        <a:xfrm>
          <a:off x="0" y="0"/>
          <a:ext cx="0" cy="0"/>
          <a:chOff x="0" y="0"/>
          <a:chExt cx="0" cy="0"/>
        </a:xfrm>
      </p:grpSpPr>
      <p:sp>
        <p:nvSpPr>
          <p:cNvPr id="6" name="Rectangle 5"/>
          <p:cNvSpPr/>
          <p:nvPr userDrawn="1"/>
        </p:nvSpPr>
        <p:spPr bwMode="gray">
          <a:xfrm>
            <a:off x="0" y="0"/>
            <a:ext cx="9144000" cy="6858000"/>
          </a:xfrm>
          <a:prstGeom prst="rect">
            <a:avLst/>
          </a:prstGeom>
          <a:gradFill flip="none" rotWithShape="1">
            <a:gsLst>
              <a:gs pos="100000">
                <a:schemeClr val="bg1">
                  <a:lumMod val="90000"/>
                </a:schemeClr>
              </a:gs>
              <a:gs pos="36000">
                <a:schemeClr val="bg1"/>
              </a:gs>
            </a:gsLst>
            <a:path path="circle">
              <a:fillToRect l="50000" t="50000" r="50000" b="50000"/>
            </a:path>
            <a:tileRect/>
          </a:gradFill>
          <a:ln w="19050" algn="ctr">
            <a:noFill/>
            <a:miter lim="800000"/>
            <a:headEnd/>
            <a:tailEnd/>
          </a:ln>
        </p:spPr>
        <p:txBody>
          <a:bodyPr wrap="square" lIns="66675" tIns="66675" rIns="66675" bIns="66675" rtlCol="0" anchor="ctr"/>
          <a:lstStyle/>
          <a:p>
            <a:pPr algn="ctr" defTabSz="914378">
              <a:lnSpc>
                <a:spcPct val="106000"/>
              </a:lnSpc>
              <a:buFont typeface="Wingdings 2" pitchFamily="18" charset="2"/>
              <a:buNone/>
            </a:pPr>
            <a:endParaRPr lang="en-US" sz="1200" b="1" dirty="0">
              <a:solidFill>
                <a:prstClr val="white"/>
              </a:solidFill>
            </a:endParaRPr>
          </a:p>
        </p:txBody>
      </p:sp>
      <p:sp>
        <p:nvSpPr>
          <p:cNvPr id="14" name="Text Placeholder 3"/>
          <p:cNvSpPr txBox="1">
            <a:spLocks/>
          </p:cNvSpPr>
          <p:nvPr userDrawn="1"/>
        </p:nvSpPr>
        <p:spPr bwMode="gray">
          <a:xfrm>
            <a:off x="365761" y="5513405"/>
            <a:ext cx="8425814" cy="1139264"/>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675"/>
              </a:lnSpc>
            </a:pPr>
            <a:r>
              <a:rPr lang="en-US" sz="525" b="1" dirty="0">
                <a:solidFill>
                  <a:prstClr val="black"/>
                </a:solidFill>
              </a:rPr>
              <a:t>About Deloitte</a:t>
            </a:r>
            <a:br>
              <a:rPr lang="en-US" sz="525" dirty="0">
                <a:solidFill>
                  <a:prstClr val="black"/>
                </a:solidFill>
              </a:rPr>
            </a:br>
            <a:r>
              <a:rPr lang="en-US" sz="525" dirty="0">
                <a:solidFill>
                  <a:prstClr val="black"/>
                </a:solidFill>
              </a:rPr>
              <a:t>Deloitte refers to one or more of Deloitte </a:t>
            </a:r>
            <a:r>
              <a:rPr lang="en-US" sz="525" noProof="1">
                <a:solidFill>
                  <a:prstClr val="black"/>
                </a:solidFill>
              </a:rPr>
              <a:t>Touche</a:t>
            </a:r>
            <a:r>
              <a:rPr lang="en-US" sz="525" dirty="0">
                <a:solidFill>
                  <a:prstClr val="black"/>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525" dirty="0">
                <a:solidFill>
                  <a:prstClr val="black"/>
                </a:solidFill>
                <a:hlinkClick r:id="rId2"/>
              </a:rPr>
              <a:t>www.deloitte.co/about</a:t>
            </a:r>
            <a:r>
              <a:rPr lang="en-US" sz="525" dirty="0">
                <a:solidFill>
                  <a:prstClr val="black"/>
                </a:solidFill>
              </a:rPr>
              <a:t> for a detailed description of DTTL and its Member Firms. Please see </a:t>
            </a:r>
            <a:r>
              <a:rPr lang="en-US" sz="525" dirty="0">
                <a:solidFill>
                  <a:prstClr val="black"/>
                </a:solidFill>
                <a:hlinkClick r:id="rId3"/>
              </a:rPr>
              <a:t>www.deloitte.co/us/about</a:t>
            </a:r>
            <a:r>
              <a:rPr lang="en-US" sz="525" dirty="0">
                <a:solidFill>
                  <a:prstClr val="black"/>
                </a:solidFill>
              </a:rPr>
              <a:t> for a detailed description of the legal structure of Deloitte LLP and its subsidiaries. Certain services may not be available to attest clients under the rules and regulations of public accounting.</a:t>
            </a:r>
            <a:br>
              <a:rPr lang="en-US" sz="525" dirty="0">
                <a:solidFill>
                  <a:prstClr val="black"/>
                </a:solidFill>
              </a:rPr>
            </a:br>
            <a:br>
              <a:rPr lang="en-US" sz="525" dirty="0">
                <a:solidFill>
                  <a:prstClr val="black"/>
                </a:solidFill>
              </a:rPr>
            </a:br>
            <a:r>
              <a:rPr lang="en-US" sz="525" dirty="0">
                <a:solidFill>
                  <a:prstClr val="black"/>
                </a:solidFill>
              </a:rPr>
              <a:t>Copyright © 2018 Deloitte Development LLC. All rights reserved.</a:t>
            </a:r>
          </a:p>
        </p:txBody>
      </p:sp>
      <p:grpSp>
        <p:nvGrpSpPr>
          <p:cNvPr id="30" name="Group 29"/>
          <p:cNvGrpSpPr>
            <a:grpSpLocks noChangeAspect="1"/>
          </p:cNvGrpSpPr>
          <p:nvPr userDrawn="1"/>
        </p:nvGrpSpPr>
        <p:grpSpPr>
          <a:xfrm>
            <a:off x="356494" y="457200"/>
            <a:ext cx="1498500" cy="374400"/>
            <a:chOff x="398463" y="404813"/>
            <a:chExt cx="1627187" cy="307976"/>
          </a:xfrm>
          <a:solidFill>
            <a:schemeClr val="tx1"/>
          </a:solidFill>
        </p:grpSpPr>
        <p:sp>
          <p:nvSpPr>
            <p:cNvPr id="3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3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sp>
          <p:nvSpPr>
            <p:cNvPr id="4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endParaRPr lang="en-GB" sz="1950" dirty="0">
                <a:solidFill>
                  <a:prstClr val="white"/>
                </a:solidFill>
              </a:endParaRPr>
            </a:p>
          </p:txBody>
        </p:sp>
      </p:grpSp>
    </p:spTree>
    <p:extLst>
      <p:ext uri="{BB962C8B-B14F-4D97-AF65-F5344CB8AC3E}">
        <p14:creationId xmlns:p14="http://schemas.microsoft.com/office/powerpoint/2010/main" val="568189857"/>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5" y="1700214"/>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52425" y="3423545"/>
            <a:ext cx="7813676"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4752000" y="6477000"/>
            <a:ext cx="3672420" cy="150169"/>
          </a:xfrm>
          <a:prstGeom prst="rect">
            <a:avLst/>
          </a:prstGeom>
          <a:noFill/>
        </p:spPr>
        <p:txBody>
          <a:bodyPr wrap="square" lIns="0" tIns="0" rIns="0" bIns="0" rtlCol="0">
            <a:spAutoFit/>
          </a:bodyPr>
          <a:lstStyle/>
          <a:p>
            <a:pPr algn="r" defTabSz="914378">
              <a:buSzPct val="100000"/>
              <a:buFont typeface="Arial"/>
              <a:buNone/>
            </a:pPr>
            <a:r>
              <a:rPr lang="en-US" sz="488" dirty="0">
                <a:solidFill>
                  <a:prstClr val="white"/>
                </a:solidFill>
              </a:rPr>
              <a:t>Presentation title</a:t>
            </a:r>
            <a:br>
              <a:rPr lang="en-US" sz="488" dirty="0">
                <a:solidFill>
                  <a:prstClr val="white"/>
                </a:solidFill>
              </a:rPr>
            </a:br>
            <a:r>
              <a:rPr lang="en-US" sz="488" dirty="0">
                <a:solidFill>
                  <a:prstClr val="white"/>
                </a:solidFill>
              </a:rPr>
              <a:t>[To edit, click View &gt; Slide Master &gt; Slide master1]</a:t>
            </a:r>
          </a:p>
        </p:txBody>
      </p:sp>
      <p:sp>
        <p:nvSpPr>
          <p:cNvPr id="13"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14" name="TextBox 13"/>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381439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9" name="TextBox 8"/>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7247104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5" y="1705669"/>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352425" y="3429000"/>
            <a:ext cx="781367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22" name="TextBox 21"/>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24990175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360363" y="1590676"/>
            <a:ext cx="6772203" cy="4708525"/>
          </a:xfrm>
          <a:prstGeom prst="rect">
            <a:avLst/>
          </a:prstGeom>
        </p:spPr>
        <p:txBody>
          <a:bodyPr>
            <a:no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5"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16" name="TextBox 15"/>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301805001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360363" y="1590676"/>
            <a:ext cx="6772203" cy="4708525"/>
          </a:xfrm>
          <a:prstGeom prst="rect">
            <a:avLst/>
          </a:prstGeom>
        </p:spPr>
        <p:txBody>
          <a:bodyPr>
            <a:no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9"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20" name="TextBox 19"/>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186543759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360363" y="1590676"/>
            <a:ext cx="6772203" cy="4708525"/>
          </a:xfrm>
          <a:prstGeom prst="rect">
            <a:avLst/>
          </a:prstGeom>
        </p:spPr>
        <p:txBody>
          <a:bodyPr>
            <a:no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5" name="Copyright"/>
          <p:cNvSpPr txBox="1"/>
          <p:nvPr userDrawn="1"/>
        </p:nvSpPr>
        <p:spPr>
          <a:xfrm>
            <a:off x="352426" y="6477001"/>
            <a:ext cx="4016375" cy="75085"/>
          </a:xfrm>
          <a:prstGeom prst="rect">
            <a:avLst/>
          </a:prstGeom>
          <a:noFill/>
        </p:spPr>
        <p:txBody>
          <a:bodyPr wrap="square" lIns="0" tIns="0" rIns="0" bIns="0" rtlCol="0">
            <a:spAutoFit/>
          </a:bodyPr>
          <a:lstStyle/>
          <a:p>
            <a:pPr defTabSz="914378">
              <a:spcBef>
                <a:spcPts val="600"/>
              </a:spcBef>
              <a:buSzPct val="100000"/>
              <a:buFont typeface="Arial"/>
              <a:buNone/>
            </a:pPr>
            <a:r>
              <a:rPr lang="en-US" sz="488" dirty="0">
                <a:solidFill>
                  <a:prstClr val="white"/>
                </a:solidFill>
              </a:rPr>
              <a:t>Copyright © 2016 Deloitte Development LLC. All rights reserved.</a:t>
            </a:r>
          </a:p>
        </p:txBody>
      </p:sp>
      <p:sp>
        <p:nvSpPr>
          <p:cNvPr id="16" name="TextBox 15"/>
          <p:cNvSpPr txBox="1"/>
          <p:nvPr userDrawn="1"/>
        </p:nvSpPr>
        <p:spPr>
          <a:xfrm>
            <a:off x="8560594" y="6477001"/>
            <a:ext cx="230981" cy="75085"/>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488">
                <a:solidFill>
                  <a:prstClr val="white"/>
                </a:solidFill>
              </a:rPr>
              <a:pPr algn="r" defTabSz="914378">
                <a:spcBef>
                  <a:spcPts val="600"/>
                </a:spcBef>
                <a:buSzPct val="100000"/>
                <a:buFont typeface="Arial"/>
                <a:buNone/>
              </a:pPr>
              <a:t>‹#›</a:t>
            </a:fld>
            <a:endParaRPr lang="en-US" sz="488" dirty="0">
              <a:solidFill>
                <a:prstClr val="white"/>
              </a:solidFill>
            </a:endParaRPr>
          </a:p>
        </p:txBody>
      </p:sp>
    </p:spTree>
    <p:extLst>
      <p:ext uri="{BB962C8B-B14F-4D97-AF65-F5344CB8AC3E}">
        <p14:creationId xmlns:p14="http://schemas.microsoft.com/office/powerpoint/2010/main" val="50489486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0.xml"/><Relationship Id="rId21" Type="http://schemas.openxmlformats.org/officeDocument/2006/relationships/slideLayout" Target="../slideLayouts/slideLayout35.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63" Type="http://schemas.openxmlformats.org/officeDocument/2006/relationships/slideLayout" Target="../slideLayouts/slideLayout77.xml"/><Relationship Id="rId68" Type="http://schemas.openxmlformats.org/officeDocument/2006/relationships/slideLayout" Target="../slideLayouts/slideLayout82.xml"/><Relationship Id="rId84" Type="http://schemas.openxmlformats.org/officeDocument/2006/relationships/slideLayout" Target="../slideLayouts/slideLayout98.xml"/><Relationship Id="rId89" Type="http://schemas.openxmlformats.org/officeDocument/2006/relationships/slideLayout" Target="../slideLayouts/slideLayout103.xml"/><Relationship Id="rId16" Type="http://schemas.openxmlformats.org/officeDocument/2006/relationships/slideLayout" Target="../slideLayouts/slideLayout30.xml"/><Relationship Id="rId11" Type="http://schemas.openxmlformats.org/officeDocument/2006/relationships/slideLayout" Target="../slideLayouts/slideLayout25.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74" Type="http://schemas.openxmlformats.org/officeDocument/2006/relationships/slideLayout" Target="../slideLayouts/slideLayout88.xml"/><Relationship Id="rId79" Type="http://schemas.openxmlformats.org/officeDocument/2006/relationships/slideLayout" Target="../slideLayouts/slideLayout93.xml"/><Relationship Id="rId5" Type="http://schemas.openxmlformats.org/officeDocument/2006/relationships/slideLayout" Target="../slideLayouts/slideLayout19.xml"/><Relationship Id="rId90" Type="http://schemas.openxmlformats.org/officeDocument/2006/relationships/slideLayout" Target="../slideLayouts/slideLayout104.xml"/><Relationship Id="rId95" Type="http://schemas.openxmlformats.org/officeDocument/2006/relationships/oleObject" Target="../embeddings/oleObject1.bin"/><Relationship Id="rId22" Type="http://schemas.openxmlformats.org/officeDocument/2006/relationships/slideLayout" Target="../slideLayouts/slideLayout36.xml"/><Relationship Id="rId27" Type="http://schemas.openxmlformats.org/officeDocument/2006/relationships/slideLayout" Target="../slideLayouts/slideLayout41.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64" Type="http://schemas.openxmlformats.org/officeDocument/2006/relationships/slideLayout" Target="../slideLayouts/slideLayout78.xml"/><Relationship Id="rId69" Type="http://schemas.openxmlformats.org/officeDocument/2006/relationships/slideLayout" Target="../slideLayouts/slideLayout83.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72" Type="http://schemas.openxmlformats.org/officeDocument/2006/relationships/slideLayout" Target="../slideLayouts/slideLayout86.xml"/><Relationship Id="rId80" Type="http://schemas.openxmlformats.org/officeDocument/2006/relationships/slideLayout" Target="../slideLayouts/slideLayout94.xml"/><Relationship Id="rId85" Type="http://schemas.openxmlformats.org/officeDocument/2006/relationships/slideLayout" Target="../slideLayouts/slideLayout99.xml"/><Relationship Id="rId93" Type="http://schemas.openxmlformats.org/officeDocument/2006/relationships/theme" Target="../theme/theme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slideLayout" Target="../slideLayouts/slideLayout81.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slideLayout" Target="../slideLayouts/slideLayout84.xml"/><Relationship Id="rId75" Type="http://schemas.openxmlformats.org/officeDocument/2006/relationships/slideLayout" Target="../slideLayouts/slideLayout89.xml"/><Relationship Id="rId83" Type="http://schemas.openxmlformats.org/officeDocument/2006/relationships/slideLayout" Target="../slideLayouts/slideLayout97.xml"/><Relationship Id="rId88" Type="http://schemas.openxmlformats.org/officeDocument/2006/relationships/slideLayout" Target="../slideLayouts/slideLayout102.xml"/><Relationship Id="rId91" Type="http://schemas.openxmlformats.org/officeDocument/2006/relationships/slideLayout" Target="../slideLayouts/slideLayout105.xml"/><Relationship Id="rId96" Type="http://schemas.openxmlformats.org/officeDocument/2006/relationships/image" Target="../media/image6.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73" Type="http://schemas.openxmlformats.org/officeDocument/2006/relationships/slideLayout" Target="../slideLayouts/slideLayout87.xml"/><Relationship Id="rId78" Type="http://schemas.openxmlformats.org/officeDocument/2006/relationships/slideLayout" Target="../slideLayouts/slideLayout92.xml"/><Relationship Id="rId81" Type="http://schemas.openxmlformats.org/officeDocument/2006/relationships/slideLayout" Target="../slideLayouts/slideLayout95.xml"/><Relationship Id="rId86" Type="http://schemas.openxmlformats.org/officeDocument/2006/relationships/slideLayout" Target="../slideLayouts/slideLayout100.xml"/><Relationship Id="rId94" Type="http://schemas.openxmlformats.org/officeDocument/2006/relationships/tags" Target="../tags/tag1.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9" Type="http://schemas.openxmlformats.org/officeDocument/2006/relationships/slideLayout" Target="../slideLayouts/slideLayout53.xml"/><Relationship Id="rId34" Type="http://schemas.openxmlformats.org/officeDocument/2006/relationships/slideLayout" Target="../slideLayouts/slideLayout48.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76" Type="http://schemas.openxmlformats.org/officeDocument/2006/relationships/slideLayout" Target="../slideLayouts/slideLayout90.xml"/><Relationship Id="rId7" Type="http://schemas.openxmlformats.org/officeDocument/2006/relationships/slideLayout" Target="../slideLayouts/slideLayout21.xml"/><Relationship Id="rId71" Type="http://schemas.openxmlformats.org/officeDocument/2006/relationships/slideLayout" Target="../slideLayouts/slideLayout85.xml"/><Relationship Id="rId92" Type="http://schemas.openxmlformats.org/officeDocument/2006/relationships/slideLayout" Target="../slideLayouts/slideLayout106.xml"/><Relationship Id="rId2" Type="http://schemas.openxmlformats.org/officeDocument/2006/relationships/slideLayout" Target="../slideLayouts/slideLayout16.xml"/><Relationship Id="rId29" Type="http://schemas.openxmlformats.org/officeDocument/2006/relationships/slideLayout" Target="../slideLayouts/slideLayout43.xml"/><Relationship Id="rId24" Type="http://schemas.openxmlformats.org/officeDocument/2006/relationships/slideLayout" Target="../slideLayouts/slideLayout38.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66" Type="http://schemas.openxmlformats.org/officeDocument/2006/relationships/slideLayout" Target="../slideLayouts/slideLayout80.xml"/><Relationship Id="rId87" Type="http://schemas.openxmlformats.org/officeDocument/2006/relationships/slideLayout" Target="../slideLayouts/slideLayout101.xml"/><Relationship Id="rId61" Type="http://schemas.openxmlformats.org/officeDocument/2006/relationships/slideLayout" Target="../slideLayouts/slideLayout75.xml"/><Relationship Id="rId82" Type="http://schemas.openxmlformats.org/officeDocument/2006/relationships/slideLayout" Target="../slideLayouts/slideLayout96.xml"/><Relationship Id="rId19" Type="http://schemas.openxmlformats.org/officeDocument/2006/relationships/slideLayout" Target="../slideLayouts/slideLayout33.xml"/><Relationship Id="rId14" Type="http://schemas.openxmlformats.org/officeDocument/2006/relationships/slideLayout" Target="../slideLayouts/slideLayout28.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56" Type="http://schemas.openxmlformats.org/officeDocument/2006/relationships/slideLayout" Target="../slideLayouts/slideLayout70.xml"/><Relationship Id="rId77"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19234" name="Picture 2" descr="PPT inside_4 lines"/>
          <p:cNvPicPr>
            <a:picLocks noChangeAspect="1" noChangeArrowheads="1"/>
          </p:cNvPicPr>
          <p:nvPr/>
        </p:nvPicPr>
        <p:blipFill>
          <a:blip r:embed="rId16">
            <a:extLst>
              <a:ext uri="{28A0092B-C50C-407E-A947-70E740481C1C}">
                <a14:useLocalDpi xmlns:a14="http://schemas.microsoft.com/office/drawing/2010/main" val="0"/>
              </a:ext>
            </a:extLst>
          </a:blip>
          <a:srcRect t="2831" b="4404"/>
          <a:stretch>
            <a:fillRect/>
          </a:stretch>
        </p:blipFill>
        <p:spPr bwMode="auto">
          <a:xfrm>
            <a:off x="0" y="5395913"/>
            <a:ext cx="9144000" cy="936625"/>
          </a:xfrm>
          <a:prstGeom prst="rect">
            <a:avLst/>
          </a:prstGeom>
          <a:noFill/>
          <a:extLst>
            <a:ext uri="{909E8E84-426E-40DD-AFC4-6F175D3DCCD1}">
              <a14:hiddenFill xmlns:a14="http://schemas.microsoft.com/office/drawing/2010/main">
                <a:solidFill>
                  <a:srgbClr val="FFFFFF"/>
                </a:solidFill>
              </a14:hiddenFill>
            </a:ext>
          </a:extLst>
        </p:spPr>
      </p:pic>
      <p:sp>
        <p:nvSpPr>
          <p:cNvPr id="1119235" name="Rectangle 3"/>
          <p:cNvSpPr>
            <a:spLocks noGrp="1" noChangeArrowheads="1"/>
          </p:cNvSpPr>
          <p:nvPr>
            <p:ph type="title"/>
          </p:nvPr>
        </p:nvSpPr>
        <p:spPr bwMode="auto">
          <a:xfrm>
            <a:off x="342900" y="274638"/>
            <a:ext cx="8442325" cy="595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119236" name="Rectangle 4"/>
          <p:cNvSpPr>
            <a:spLocks noGrp="1" noChangeArrowheads="1"/>
          </p:cNvSpPr>
          <p:nvPr>
            <p:ph type="body" idx="1"/>
          </p:nvPr>
        </p:nvSpPr>
        <p:spPr bwMode="auto">
          <a:xfrm>
            <a:off x="342900" y="955675"/>
            <a:ext cx="8442325"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19237" name="Picture 5" descr="6"/>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350838" y="6477000"/>
            <a:ext cx="2844800" cy="142875"/>
          </a:xfrm>
          <a:prstGeom prst="rect">
            <a:avLst/>
          </a:prstGeom>
          <a:noFill/>
          <a:extLst>
            <a:ext uri="{909E8E84-426E-40DD-AFC4-6F175D3DCCD1}">
              <a14:hiddenFill xmlns:a14="http://schemas.microsoft.com/office/drawing/2010/main">
                <a:solidFill>
                  <a:srgbClr val="FFFFFF"/>
                </a:solidFill>
              </a14:hiddenFill>
            </a:ext>
          </a:extLst>
        </p:spPr>
      </p:pic>
      <p:sp>
        <p:nvSpPr>
          <p:cNvPr id="1119238" name="Rectangle 6"/>
          <p:cNvSpPr>
            <a:spLocks noChangeArrowheads="1"/>
          </p:cNvSpPr>
          <p:nvPr userDrawn="1"/>
        </p:nvSpPr>
        <p:spPr bwMode="auto">
          <a:xfrm>
            <a:off x="6721475" y="6459538"/>
            <a:ext cx="1412875" cy="315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fontAlgn="base">
              <a:spcBef>
                <a:spcPct val="50000"/>
              </a:spcBef>
              <a:spcAft>
                <a:spcPct val="0"/>
              </a:spcAft>
            </a:pPr>
            <a:fld id="{3530115F-1FC7-4A3E-9162-11DE3DA540DB}" type="datetime3">
              <a:rPr lang="en-US" sz="900">
                <a:solidFill>
                  <a:srgbClr val="4E84C4"/>
                </a:solidFill>
                <a:latin typeface="Myriad Pro" pitchFamily="34" charset="0"/>
              </a:rPr>
              <a:pPr algn="r" fontAlgn="base">
                <a:spcBef>
                  <a:spcPct val="50000"/>
                </a:spcBef>
                <a:spcAft>
                  <a:spcPct val="0"/>
                </a:spcAft>
              </a:pPr>
              <a:t>29 October 2023</a:t>
            </a:fld>
            <a:endParaRPr lang="en-US" sz="900">
              <a:solidFill>
                <a:srgbClr val="4E84C4"/>
              </a:solidFill>
              <a:latin typeface="Myriad Pro" pitchFamily="34" charset="0"/>
            </a:endParaRPr>
          </a:p>
        </p:txBody>
      </p:sp>
      <p:sp>
        <p:nvSpPr>
          <p:cNvPr id="1119239" name="Rectangle 7"/>
          <p:cNvSpPr>
            <a:spLocks noGrp="1" noChangeArrowheads="1"/>
          </p:cNvSpPr>
          <p:nvPr>
            <p:ph type="sldNum" sz="quarter" idx="4"/>
          </p:nvPr>
        </p:nvSpPr>
        <p:spPr bwMode="auto">
          <a:xfrm>
            <a:off x="8362950" y="6461125"/>
            <a:ext cx="381000" cy="26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spcBef>
                <a:spcPct val="50000"/>
              </a:spcBef>
              <a:defRPr sz="900">
                <a:solidFill>
                  <a:srgbClr val="4E84C4"/>
                </a:solidFill>
                <a:latin typeface="+mj-lt"/>
              </a:defRPr>
            </a:lvl1pPr>
          </a:lstStyle>
          <a:p>
            <a:pPr fontAlgn="base">
              <a:spcAft>
                <a:spcPct val="0"/>
              </a:spcAft>
            </a:pPr>
            <a:fld id="{6E8A7A35-B313-4294-99AF-115C9E978DF3}" type="slidenum">
              <a:rPr lang="en-US" b="1"/>
              <a:pPr fontAlgn="base">
                <a:spcAft>
                  <a:spcPct val="0"/>
                </a:spcAft>
              </a:pPr>
              <a:t>‹#›</a:t>
            </a:fld>
            <a:endParaRPr lang="en-US" b="1"/>
          </a:p>
        </p:txBody>
      </p:sp>
    </p:spTree>
    <p:extLst>
      <p:ext uri="{BB962C8B-B14F-4D97-AF65-F5344CB8AC3E}">
        <p14:creationId xmlns:p14="http://schemas.microsoft.com/office/powerpoint/2010/main" val="190951377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715" r:id="rId14"/>
  </p:sldLayoutIdLst>
  <p:hf hdr="0" ftr="0" dt="0"/>
  <p:txStyles>
    <p:titleStyle>
      <a:lvl1pPr algn="l" rtl="0" fontAlgn="base">
        <a:spcBef>
          <a:spcPct val="0"/>
        </a:spcBef>
        <a:spcAft>
          <a:spcPct val="0"/>
        </a:spcAft>
        <a:defRPr sz="2800">
          <a:solidFill>
            <a:srgbClr val="4E84C4"/>
          </a:solidFill>
          <a:latin typeface="+mj-lt"/>
          <a:ea typeface="+mj-ea"/>
          <a:cs typeface="+mj-cs"/>
        </a:defRPr>
      </a:lvl1pPr>
      <a:lvl2pPr algn="l" rtl="0" fontAlgn="base">
        <a:spcBef>
          <a:spcPct val="0"/>
        </a:spcBef>
        <a:spcAft>
          <a:spcPct val="0"/>
        </a:spcAft>
        <a:defRPr sz="2800">
          <a:solidFill>
            <a:srgbClr val="4E84C4"/>
          </a:solidFill>
          <a:latin typeface="Myriad Pro" pitchFamily="34" charset="0"/>
        </a:defRPr>
      </a:lvl2pPr>
      <a:lvl3pPr algn="l" rtl="0" fontAlgn="base">
        <a:spcBef>
          <a:spcPct val="0"/>
        </a:spcBef>
        <a:spcAft>
          <a:spcPct val="0"/>
        </a:spcAft>
        <a:defRPr sz="2800">
          <a:solidFill>
            <a:srgbClr val="4E84C4"/>
          </a:solidFill>
          <a:latin typeface="Myriad Pro" pitchFamily="34" charset="0"/>
        </a:defRPr>
      </a:lvl3pPr>
      <a:lvl4pPr algn="l" rtl="0" fontAlgn="base">
        <a:spcBef>
          <a:spcPct val="0"/>
        </a:spcBef>
        <a:spcAft>
          <a:spcPct val="0"/>
        </a:spcAft>
        <a:defRPr sz="2800">
          <a:solidFill>
            <a:srgbClr val="4E84C4"/>
          </a:solidFill>
          <a:latin typeface="Myriad Pro" pitchFamily="34" charset="0"/>
        </a:defRPr>
      </a:lvl4pPr>
      <a:lvl5pPr algn="l" rtl="0" fontAlgn="base">
        <a:spcBef>
          <a:spcPct val="0"/>
        </a:spcBef>
        <a:spcAft>
          <a:spcPct val="0"/>
        </a:spcAft>
        <a:defRPr sz="2800">
          <a:solidFill>
            <a:srgbClr val="4E84C4"/>
          </a:solidFill>
          <a:latin typeface="Myriad Pro" pitchFamily="34" charset="0"/>
        </a:defRPr>
      </a:lvl5pPr>
      <a:lvl6pPr marL="457200" algn="l" rtl="0" fontAlgn="base">
        <a:spcBef>
          <a:spcPct val="0"/>
        </a:spcBef>
        <a:spcAft>
          <a:spcPct val="0"/>
        </a:spcAft>
        <a:defRPr sz="2800">
          <a:solidFill>
            <a:srgbClr val="4E84C4"/>
          </a:solidFill>
          <a:latin typeface="Myriad Pro" pitchFamily="34" charset="0"/>
        </a:defRPr>
      </a:lvl6pPr>
      <a:lvl7pPr marL="914400" algn="l" rtl="0" fontAlgn="base">
        <a:spcBef>
          <a:spcPct val="0"/>
        </a:spcBef>
        <a:spcAft>
          <a:spcPct val="0"/>
        </a:spcAft>
        <a:defRPr sz="2800">
          <a:solidFill>
            <a:srgbClr val="4E84C4"/>
          </a:solidFill>
          <a:latin typeface="Myriad Pro" pitchFamily="34" charset="0"/>
        </a:defRPr>
      </a:lvl7pPr>
      <a:lvl8pPr marL="1371600" algn="l" rtl="0" fontAlgn="base">
        <a:spcBef>
          <a:spcPct val="0"/>
        </a:spcBef>
        <a:spcAft>
          <a:spcPct val="0"/>
        </a:spcAft>
        <a:defRPr sz="2800">
          <a:solidFill>
            <a:srgbClr val="4E84C4"/>
          </a:solidFill>
          <a:latin typeface="Myriad Pro" pitchFamily="34" charset="0"/>
        </a:defRPr>
      </a:lvl8pPr>
      <a:lvl9pPr marL="1828800" algn="l" rtl="0" fontAlgn="base">
        <a:spcBef>
          <a:spcPct val="0"/>
        </a:spcBef>
        <a:spcAft>
          <a:spcPct val="0"/>
        </a:spcAft>
        <a:defRPr sz="2800">
          <a:solidFill>
            <a:srgbClr val="4E84C4"/>
          </a:solidFill>
          <a:latin typeface="Myriad Pro" pitchFamily="34" charset="0"/>
        </a:defRPr>
      </a:lvl9pPr>
    </p:titleStyle>
    <p:bodyStyle>
      <a:lvl1pPr marL="122238" indent="-122238" algn="l" rtl="0" fontAlgn="base">
        <a:lnSpc>
          <a:spcPct val="105000"/>
        </a:lnSpc>
        <a:spcBef>
          <a:spcPct val="20000"/>
        </a:spcBef>
        <a:spcAft>
          <a:spcPct val="0"/>
        </a:spcAft>
        <a:buClr>
          <a:schemeClr val="tx1"/>
        </a:buClr>
        <a:buSzPct val="120000"/>
        <a:buChar char="•"/>
        <a:defRPr sz="1600">
          <a:solidFill>
            <a:schemeClr val="tx1"/>
          </a:solidFill>
          <a:latin typeface="+mn-lt"/>
          <a:ea typeface="+mn-ea"/>
          <a:cs typeface="+mn-cs"/>
        </a:defRPr>
      </a:lvl1pPr>
      <a:lvl2pPr marL="571500" indent="-228600" algn="l" rtl="0" fontAlgn="base">
        <a:lnSpc>
          <a:spcPct val="105000"/>
        </a:lnSpc>
        <a:spcBef>
          <a:spcPct val="20000"/>
        </a:spcBef>
        <a:spcAft>
          <a:spcPct val="0"/>
        </a:spcAft>
        <a:buClr>
          <a:schemeClr val="tx1"/>
        </a:buClr>
        <a:buSzPct val="90000"/>
        <a:buFont typeface="Wingdings" pitchFamily="2" charset="2"/>
        <a:buChar char="§"/>
        <a:defRPr sz="1600">
          <a:solidFill>
            <a:schemeClr val="tx1"/>
          </a:solidFill>
          <a:latin typeface="+mn-lt"/>
        </a:defRPr>
      </a:lvl2pPr>
      <a:lvl3pPr marL="808038" indent="-122238" algn="l" rtl="0" fontAlgn="base">
        <a:lnSpc>
          <a:spcPct val="105000"/>
        </a:lnSpc>
        <a:spcBef>
          <a:spcPct val="20000"/>
        </a:spcBef>
        <a:spcAft>
          <a:spcPct val="0"/>
        </a:spcAft>
        <a:buClr>
          <a:schemeClr val="tx1"/>
        </a:buClr>
        <a:buChar char="•"/>
        <a:defRPr sz="1600">
          <a:solidFill>
            <a:schemeClr val="tx1"/>
          </a:solidFill>
          <a:latin typeface="+mn-lt"/>
        </a:defRPr>
      </a:lvl3pPr>
      <a:lvl4pPr marL="1257300" indent="-228600" algn="l" rtl="0" fontAlgn="base">
        <a:lnSpc>
          <a:spcPct val="105000"/>
        </a:lnSpc>
        <a:spcBef>
          <a:spcPct val="20000"/>
        </a:spcBef>
        <a:spcAft>
          <a:spcPct val="0"/>
        </a:spcAft>
        <a:buClr>
          <a:schemeClr val="tx1"/>
        </a:buClr>
        <a:buSzPct val="70000"/>
        <a:buFont typeface="Wingdings" pitchFamily="2" charset="2"/>
        <a:buChar char="§"/>
        <a:defRPr sz="1600">
          <a:solidFill>
            <a:schemeClr val="tx1"/>
          </a:solidFill>
          <a:latin typeface="+mn-lt"/>
        </a:defRPr>
      </a:lvl4pPr>
      <a:lvl5pPr marL="1493838" indent="-122238" algn="l" rtl="0" fontAlgn="base">
        <a:lnSpc>
          <a:spcPct val="105000"/>
        </a:lnSpc>
        <a:spcBef>
          <a:spcPct val="20000"/>
        </a:spcBef>
        <a:spcAft>
          <a:spcPct val="0"/>
        </a:spcAft>
        <a:buClr>
          <a:schemeClr val="tx1"/>
        </a:buClr>
        <a:buSzPct val="80000"/>
        <a:buChar char="•"/>
        <a:defRPr sz="1600">
          <a:solidFill>
            <a:schemeClr val="tx1"/>
          </a:solidFill>
          <a:latin typeface="+mn-lt"/>
        </a:defRPr>
      </a:lvl5pPr>
      <a:lvl6pPr marL="1951038" indent="-122238" algn="l" rtl="0" fontAlgn="base">
        <a:lnSpc>
          <a:spcPct val="105000"/>
        </a:lnSpc>
        <a:spcBef>
          <a:spcPct val="20000"/>
        </a:spcBef>
        <a:spcAft>
          <a:spcPct val="0"/>
        </a:spcAft>
        <a:buClr>
          <a:schemeClr val="tx1"/>
        </a:buClr>
        <a:buSzPct val="80000"/>
        <a:buChar char="•"/>
        <a:defRPr sz="1600">
          <a:solidFill>
            <a:schemeClr val="tx1"/>
          </a:solidFill>
          <a:latin typeface="+mn-lt"/>
        </a:defRPr>
      </a:lvl6pPr>
      <a:lvl7pPr marL="2408238" indent="-122238" algn="l" rtl="0" fontAlgn="base">
        <a:lnSpc>
          <a:spcPct val="105000"/>
        </a:lnSpc>
        <a:spcBef>
          <a:spcPct val="20000"/>
        </a:spcBef>
        <a:spcAft>
          <a:spcPct val="0"/>
        </a:spcAft>
        <a:buClr>
          <a:schemeClr val="tx1"/>
        </a:buClr>
        <a:buSzPct val="80000"/>
        <a:buChar char="•"/>
        <a:defRPr sz="1600">
          <a:solidFill>
            <a:schemeClr val="tx1"/>
          </a:solidFill>
          <a:latin typeface="+mn-lt"/>
        </a:defRPr>
      </a:lvl7pPr>
      <a:lvl8pPr marL="2865438" indent="-122238" algn="l" rtl="0" fontAlgn="base">
        <a:lnSpc>
          <a:spcPct val="105000"/>
        </a:lnSpc>
        <a:spcBef>
          <a:spcPct val="20000"/>
        </a:spcBef>
        <a:spcAft>
          <a:spcPct val="0"/>
        </a:spcAft>
        <a:buClr>
          <a:schemeClr val="tx1"/>
        </a:buClr>
        <a:buSzPct val="80000"/>
        <a:buChar char="•"/>
        <a:defRPr sz="1600">
          <a:solidFill>
            <a:schemeClr val="tx1"/>
          </a:solidFill>
          <a:latin typeface="+mn-lt"/>
        </a:defRPr>
      </a:lvl8pPr>
      <a:lvl9pPr marL="3322638" indent="-122238" algn="l" rtl="0" fontAlgn="base">
        <a:lnSpc>
          <a:spcPct val="105000"/>
        </a:lnSpc>
        <a:spcBef>
          <a:spcPct val="20000"/>
        </a:spcBef>
        <a:spcAft>
          <a:spcPct val="0"/>
        </a:spcAft>
        <a:buClr>
          <a:schemeClr val="tx1"/>
        </a:buClr>
        <a:buSzPct val="8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4"/>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95" imgW="270" imgH="270" progId="TCLayout.ActiveDocument.1">
                  <p:embed/>
                </p:oleObj>
              </mc:Choice>
              <mc:Fallback>
                <p:oleObj name="think-cell Slide" r:id="rId95" imgW="270" imgH="270" progId="TCLayout.ActiveDocument.1">
                  <p:embed/>
                  <p:pic>
                    <p:nvPicPr>
                      <p:cNvPr id="4" name="Object 3" hidden="1"/>
                      <p:cNvPicPr/>
                      <p:nvPr/>
                    </p:nvPicPr>
                    <p:blipFill>
                      <a:blip r:embed="rId96"/>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52425" y="402587"/>
            <a:ext cx="843915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352425" y="1665290"/>
            <a:ext cx="843915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4228213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 id="2147483755" r:id="rId39"/>
    <p:sldLayoutId id="2147483756" r:id="rId40"/>
    <p:sldLayoutId id="2147483758" r:id="rId41"/>
    <p:sldLayoutId id="2147483759" r:id="rId42"/>
    <p:sldLayoutId id="2147483760" r:id="rId43"/>
    <p:sldLayoutId id="2147483761" r:id="rId44"/>
    <p:sldLayoutId id="2147483762" r:id="rId45"/>
    <p:sldLayoutId id="2147483763" r:id="rId46"/>
    <p:sldLayoutId id="2147483764" r:id="rId47"/>
    <p:sldLayoutId id="2147483765" r:id="rId48"/>
    <p:sldLayoutId id="2147483766" r:id="rId49"/>
    <p:sldLayoutId id="2147483767" r:id="rId50"/>
    <p:sldLayoutId id="2147483768" r:id="rId51"/>
    <p:sldLayoutId id="2147483769" r:id="rId52"/>
    <p:sldLayoutId id="2147483770" r:id="rId53"/>
    <p:sldLayoutId id="2147483771" r:id="rId54"/>
    <p:sldLayoutId id="2147483772" r:id="rId55"/>
    <p:sldLayoutId id="2147483773" r:id="rId56"/>
    <p:sldLayoutId id="2147483774" r:id="rId57"/>
    <p:sldLayoutId id="2147483775" r:id="rId58"/>
    <p:sldLayoutId id="2147483776" r:id="rId59"/>
    <p:sldLayoutId id="2147483777" r:id="rId60"/>
    <p:sldLayoutId id="2147483778" r:id="rId61"/>
    <p:sldLayoutId id="2147483779" r:id="rId62"/>
    <p:sldLayoutId id="2147483780" r:id="rId63"/>
    <p:sldLayoutId id="2147483781" r:id="rId64"/>
    <p:sldLayoutId id="2147483782" r:id="rId65"/>
    <p:sldLayoutId id="2147483783" r:id="rId66"/>
    <p:sldLayoutId id="2147483784" r:id="rId67"/>
    <p:sldLayoutId id="2147483785" r:id="rId68"/>
    <p:sldLayoutId id="2147483786" r:id="rId69"/>
    <p:sldLayoutId id="2147483787" r:id="rId70"/>
    <p:sldLayoutId id="2147483788" r:id="rId71"/>
    <p:sldLayoutId id="2147483789" r:id="rId72"/>
    <p:sldLayoutId id="2147483790" r:id="rId73"/>
    <p:sldLayoutId id="2147483791" r:id="rId74"/>
    <p:sldLayoutId id="2147483792" r:id="rId75"/>
    <p:sldLayoutId id="2147483793" r:id="rId76"/>
    <p:sldLayoutId id="2147483794" r:id="rId77"/>
    <p:sldLayoutId id="2147483795" r:id="rId78"/>
    <p:sldLayoutId id="2147483796" r:id="rId79"/>
    <p:sldLayoutId id="2147483797" r:id="rId80"/>
    <p:sldLayoutId id="2147483798" r:id="rId81"/>
    <p:sldLayoutId id="2147483799" r:id="rId82"/>
    <p:sldLayoutId id="2147483800" r:id="rId83"/>
    <p:sldLayoutId id="2147483801" r:id="rId84"/>
    <p:sldLayoutId id="2147483802" r:id="rId85"/>
    <p:sldLayoutId id="2147483803" r:id="rId86"/>
    <p:sldLayoutId id="2147483804" r:id="rId87"/>
    <p:sldLayoutId id="2147483805" r:id="rId88"/>
    <p:sldLayoutId id="2147483806" r:id="rId89"/>
    <p:sldLayoutId id="2147483807" r:id="rId90"/>
    <p:sldLayoutId id="2147483808" r:id="rId91"/>
    <p:sldLayoutId id="2147483809" r:id="rId92"/>
  </p:sldLayoutIdLst>
  <p:transition>
    <p:fade/>
  </p:transition>
  <p:txStyles>
    <p:titleStyle>
      <a:lvl1pPr algn="l" defTabSz="914378" rtl="0" eaLnBrk="1" latinLnBrk="0" hangingPunct="1">
        <a:spcBef>
          <a:spcPct val="0"/>
        </a:spcBef>
        <a:buNone/>
        <a:defRPr sz="1500" kern="1200">
          <a:solidFill>
            <a:schemeClr val="tx1"/>
          </a:solidFill>
          <a:latin typeface="+mj-lt"/>
          <a:ea typeface="+mj-ea"/>
          <a:cs typeface="+mj-cs"/>
        </a:defRPr>
      </a:lvl1pPr>
    </p:titleStyle>
    <p:body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Layout" Target="../slideLayouts/slideLayout32.xml"/><Relationship Id="rId4" Type="http://schemas.openxmlformats.org/officeDocument/2006/relationships/image" Target="../media/image16.png"/></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Layout" Target="../slideLayouts/slideLayout32.xml"/><Relationship Id="rId4" Type="http://schemas.openxmlformats.org/officeDocument/2006/relationships/image" Target="../media/image18.png"/></Relationships>
</file>

<file path=ppt/slides/_rels/slide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Layout" Target="../slideLayouts/slideLayout32.xml"/><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00075" y="5410200"/>
            <a:ext cx="7943849" cy="513968"/>
          </a:xfrm>
        </p:spPr>
        <p:txBody>
          <a:bodyPr/>
          <a:lstStyle/>
          <a:p>
            <a:pPr marL="9525" algn="ctr"/>
            <a:r>
              <a:rPr lang="en-US" sz="2600" dirty="0" err="1"/>
              <a:t>DataWarehouse</a:t>
            </a:r>
            <a:r>
              <a:rPr lang="en-US" sz="2600" dirty="0"/>
              <a:t> – Foundations of </a:t>
            </a:r>
            <a:r>
              <a:rPr lang="en-US" sz="2600" dirty="0" err="1"/>
              <a:t>Datwarehousing</a:t>
            </a:r>
            <a:br>
              <a:rPr lang="en-US" sz="1500" spc="-4" dirty="0">
                <a:cs typeface="Verdana"/>
              </a:rPr>
            </a:br>
            <a:endParaRPr lang="en-US" sz="1500" spc="-4" dirty="0">
              <a:cs typeface="Verdana"/>
            </a:endParaRPr>
          </a:p>
        </p:txBody>
      </p:sp>
      <p:sp>
        <p:nvSpPr>
          <p:cNvPr id="8" name="object 13"/>
          <p:cNvSpPr/>
          <p:nvPr/>
        </p:nvSpPr>
        <p:spPr>
          <a:xfrm>
            <a:off x="152400" y="304800"/>
            <a:ext cx="3771900" cy="3232185"/>
          </a:xfrm>
          <a:prstGeom prst="rect">
            <a:avLst/>
          </a:prstGeom>
          <a:blipFill>
            <a:blip r:embed="rId3" cstate="print"/>
            <a:stretch>
              <a:fillRect/>
            </a:stretch>
          </a:blipFill>
        </p:spPr>
        <p:txBody>
          <a:bodyPr wrap="square" lIns="0" tIns="0" rIns="0" bIns="0" rtlCol="0"/>
          <a:lstStyle/>
          <a:p>
            <a:pPr algn="ctr"/>
            <a:endParaRPr sz="1350" dirty="0"/>
          </a:p>
        </p:txBody>
      </p:sp>
    </p:spTree>
    <p:extLst>
      <p:ext uri="{BB962C8B-B14F-4D97-AF65-F5344CB8AC3E}">
        <p14:creationId xmlns:p14="http://schemas.microsoft.com/office/powerpoint/2010/main" val="100278960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1938" y="565186"/>
            <a:ext cx="8412480" cy="352119"/>
          </a:xfrm>
        </p:spPr>
        <p:txBody>
          <a:bodyPr/>
          <a:lstStyle/>
          <a:p>
            <a:r>
              <a:rPr lang="en-US" sz="2400" b="1" dirty="0"/>
              <a:t>Complete Data Warehouse Architecture Solution</a:t>
            </a:r>
          </a:p>
        </p:txBody>
      </p:sp>
      <p:sp>
        <p:nvSpPr>
          <p:cNvPr id="4" name="Rectangle 430"/>
          <p:cNvSpPr>
            <a:spLocks noChangeArrowheads="1"/>
          </p:cNvSpPr>
          <p:nvPr/>
        </p:nvSpPr>
        <p:spPr bwMode="auto">
          <a:xfrm>
            <a:off x="611332" y="1172836"/>
            <a:ext cx="857250" cy="34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spcBef>
                <a:spcPct val="50000"/>
              </a:spcBef>
            </a:pPr>
            <a:r>
              <a:rPr kumimoji="1" lang="en-US" altLang="en-US" sz="1800" b="0" dirty="0">
                <a:latin typeface="+mn-lt"/>
              </a:rPr>
              <a:t>Data</a:t>
            </a:r>
            <a:endParaRPr kumimoji="1" lang="en-US" altLang="en-US" sz="1800" b="0" i="1" dirty="0">
              <a:solidFill>
                <a:schemeClr val="tx2"/>
              </a:solidFill>
              <a:latin typeface="+mn-lt"/>
            </a:endParaRPr>
          </a:p>
        </p:txBody>
      </p:sp>
      <p:sp>
        <p:nvSpPr>
          <p:cNvPr id="5" name="Rectangle 431"/>
          <p:cNvSpPr>
            <a:spLocks noChangeArrowheads="1"/>
          </p:cNvSpPr>
          <p:nvPr/>
        </p:nvSpPr>
        <p:spPr bwMode="auto">
          <a:xfrm>
            <a:off x="2885616" y="1191721"/>
            <a:ext cx="1498997" cy="34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spcBef>
                <a:spcPct val="50000"/>
              </a:spcBef>
            </a:pPr>
            <a:r>
              <a:rPr kumimoji="1" lang="en-US" altLang="en-US" sz="1800" b="0" dirty="0">
                <a:solidFill>
                  <a:schemeClr val="tx2"/>
                </a:solidFill>
                <a:latin typeface="+mn-lt"/>
              </a:rPr>
              <a:t>Information</a:t>
            </a:r>
            <a:endParaRPr kumimoji="1" lang="en-US" altLang="en-US" sz="1800" b="0" i="1" dirty="0">
              <a:solidFill>
                <a:schemeClr val="tx2"/>
              </a:solidFill>
              <a:latin typeface="+mn-lt"/>
            </a:endParaRPr>
          </a:p>
        </p:txBody>
      </p:sp>
      <p:sp>
        <p:nvSpPr>
          <p:cNvPr id="6" name="Rectangle 432"/>
          <p:cNvSpPr>
            <a:spLocks noChangeArrowheads="1"/>
          </p:cNvSpPr>
          <p:nvPr/>
        </p:nvSpPr>
        <p:spPr bwMode="auto">
          <a:xfrm>
            <a:off x="6029965" y="1219077"/>
            <a:ext cx="1553766" cy="34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spcBef>
                <a:spcPct val="50000"/>
              </a:spcBef>
            </a:pPr>
            <a:r>
              <a:rPr kumimoji="1" lang="en-US" altLang="en-US" sz="1800" b="0" dirty="0">
                <a:latin typeface="+mn-lt"/>
              </a:rPr>
              <a:t>Knowledge</a:t>
            </a:r>
            <a:endParaRPr kumimoji="1" lang="en-US" altLang="en-US" sz="1800" b="0" i="1" dirty="0">
              <a:solidFill>
                <a:schemeClr val="tx2"/>
              </a:solidFill>
              <a:latin typeface="+mn-lt"/>
            </a:endParaRPr>
          </a:p>
        </p:txBody>
      </p:sp>
      <p:sp>
        <p:nvSpPr>
          <p:cNvPr id="7" name="AutoShape 433"/>
          <p:cNvSpPr>
            <a:spLocks noChangeArrowheads="1"/>
          </p:cNvSpPr>
          <p:nvPr/>
        </p:nvSpPr>
        <p:spPr bwMode="auto">
          <a:xfrm>
            <a:off x="1560269" y="1312437"/>
            <a:ext cx="732234" cy="160735"/>
          </a:xfrm>
          <a:prstGeom prst="rightArrow">
            <a:avLst>
              <a:gd name="adj1" fmla="val 50000"/>
              <a:gd name="adj2" fmla="val 227799"/>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1" hangingPunct="1">
              <a:defRPr/>
            </a:pPr>
            <a:endParaRPr lang="en-IN" sz="1350"/>
          </a:p>
        </p:txBody>
      </p:sp>
      <p:sp>
        <p:nvSpPr>
          <p:cNvPr id="8" name="AutoShape 434"/>
          <p:cNvSpPr>
            <a:spLocks noChangeArrowheads="1"/>
          </p:cNvSpPr>
          <p:nvPr/>
        </p:nvSpPr>
        <p:spPr bwMode="auto">
          <a:xfrm>
            <a:off x="4763857" y="1320600"/>
            <a:ext cx="750094" cy="160735"/>
          </a:xfrm>
          <a:prstGeom prst="rightArrow">
            <a:avLst>
              <a:gd name="adj1" fmla="val 50000"/>
              <a:gd name="adj2" fmla="val 233355"/>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1" hangingPunct="1">
              <a:defRPr/>
            </a:pPr>
            <a:endParaRPr lang="en-IN" sz="1350"/>
          </a:p>
        </p:txBody>
      </p:sp>
      <p:grpSp>
        <p:nvGrpSpPr>
          <p:cNvPr id="9" name="Group 1"/>
          <p:cNvGrpSpPr>
            <a:grpSpLocks/>
          </p:cNvGrpSpPr>
          <p:nvPr/>
        </p:nvGrpSpPr>
        <p:grpSpPr bwMode="auto">
          <a:xfrm>
            <a:off x="279001" y="1619878"/>
            <a:ext cx="7692628" cy="4130019"/>
            <a:chOff x="368300" y="1282700"/>
            <a:chExt cx="8837613" cy="6157911"/>
          </a:xfrm>
        </p:grpSpPr>
        <p:sp>
          <p:nvSpPr>
            <p:cNvPr id="10" name="Rectangle 46"/>
            <p:cNvSpPr>
              <a:spLocks noChangeArrowheads="1"/>
            </p:cNvSpPr>
            <p:nvPr/>
          </p:nvSpPr>
          <p:spPr bwMode="auto">
            <a:xfrm>
              <a:off x="838200" y="64008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sp>
          <p:nvSpPr>
            <p:cNvPr id="11" name="Rectangle 47"/>
            <p:cNvSpPr>
              <a:spLocks noChangeArrowheads="1"/>
            </p:cNvSpPr>
            <p:nvPr/>
          </p:nvSpPr>
          <p:spPr bwMode="auto">
            <a:xfrm>
              <a:off x="838200" y="64008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grpSp>
          <p:nvGrpSpPr>
            <p:cNvPr id="12" name="Group 48"/>
            <p:cNvGrpSpPr>
              <a:grpSpLocks/>
            </p:cNvGrpSpPr>
            <p:nvPr/>
          </p:nvGrpSpPr>
          <p:grpSpPr bwMode="auto">
            <a:xfrm>
              <a:off x="368300" y="1282700"/>
              <a:ext cx="8837613" cy="460375"/>
              <a:chOff x="142" y="837"/>
              <a:chExt cx="5566" cy="290"/>
            </a:xfrm>
          </p:grpSpPr>
          <p:sp>
            <p:nvSpPr>
              <p:cNvPr id="302" name="Rectangle 49"/>
              <p:cNvSpPr>
                <a:spLocks noChangeArrowheads="1"/>
              </p:cNvSpPr>
              <p:nvPr/>
            </p:nvSpPr>
            <p:spPr bwMode="auto">
              <a:xfrm>
                <a:off x="4516" y="864"/>
                <a:ext cx="1049" cy="192"/>
              </a:xfrm>
              <a:prstGeom prst="rect">
                <a:avLst/>
              </a:prstGeom>
              <a:gradFill rotWithShape="0">
                <a:gsLst>
                  <a:gs pos="0">
                    <a:srgbClr val="E5E5E5"/>
                  </a:gs>
                  <a:gs pos="100000">
                    <a:srgbClr val="FFFFF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sp>
            <p:nvSpPr>
              <p:cNvPr id="303" name="Rectangle 50"/>
              <p:cNvSpPr>
                <a:spLocks noChangeArrowheads="1"/>
              </p:cNvSpPr>
              <p:nvPr/>
            </p:nvSpPr>
            <p:spPr bwMode="auto">
              <a:xfrm>
                <a:off x="1769" y="864"/>
                <a:ext cx="2604" cy="192"/>
              </a:xfrm>
              <a:prstGeom prst="rect">
                <a:avLst/>
              </a:prstGeom>
              <a:gradFill rotWithShape="0">
                <a:gsLst>
                  <a:gs pos="0">
                    <a:srgbClr val="E5E5E5"/>
                  </a:gs>
                  <a:gs pos="100000">
                    <a:srgbClr val="FFFFF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sp>
            <p:nvSpPr>
              <p:cNvPr id="304" name="Rectangle 51"/>
              <p:cNvSpPr>
                <a:spLocks noChangeArrowheads="1"/>
              </p:cNvSpPr>
              <p:nvPr/>
            </p:nvSpPr>
            <p:spPr bwMode="auto">
              <a:xfrm>
                <a:off x="142" y="864"/>
                <a:ext cx="1485" cy="192"/>
              </a:xfrm>
              <a:prstGeom prst="rect">
                <a:avLst/>
              </a:prstGeom>
              <a:gradFill rotWithShape="0">
                <a:gsLst>
                  <a:gs pos="0">
                    <a:srgbClr val="E5E5E5"/>
                  </a:gs>
                  <a:gs pos="100000">
                    <a:srgbClr val="FFFFF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sp>
            <p:nvSpPr>
              <p:cNvPr id="305" name="Rectangle 52"/>
              <p:cNvSpPr>
                <a:spLocks noChangeArrowheads="1"/>
              </p:cNvSpPr>
              <p:nvPr/>
            </p:nvSpPr>
            <p:spPr bwMode="auto">
              <a:xfrm>
                <a:off x="142" y="837"/>
                <a:ext cx="1485" cy="290"/>
              </a:xfrm>
              <a:prstGeom prst="rect">
                <a:avLst/>
              </a:prstGeom>
              <a:noFill/>
              <a:ln>
                <a:noFill/>
              </a:ln>
              <a:effectLst>
                <a:outerShdw dist="17961" dir="2700000" algn="ctr" rotWithShape="0">
                  <a:srgbClr val="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kumimoji="1" lang="en-US" altLang="en-US" sz="1500">
                    <a:solidFill>
                      <a:srgbClr val="000000"/>
                    </a:solidFill>
                    <a:latin typeface="+mn-lt"/>
                  </a:rPr>
                  <a:t>Data Sources</a:t>
                </a:r>
              </a:p>
            </p:txBody>
          </p:sp>
          <p:sp>
            <p:nvSpPr>
              <p:cNvPr id="306" name="Rectangle 53"/>
              <p:cNvSpPr>
                <a:spLocks noChangeArrowheads="1"/>
              </p:cNvSpPr>
              <p:nvPr/>
            </p:nvSpPr>
            <p:spPr bwMode="auto">
              <a:xfrm>
                <a:off x="1769" y="837"/>
                <a:ext cx="2605" cy="290"/>
              </a:xfrm>
              <a:prstGeom prst="rect">
                <a:avLst/>
              </a:prstGeom>
              <a:noFill/>
              <a:ln>
                <a:noFill/>
              </a:ln>
              <a:effectLst>
                <a:outerShdw dist="17961" dir="2700000" algn="ctr" rotWithShape="0">
                  <a:srgbClr val="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kumimoji="1" lang="en-US" altLang="en-US" sz="1500">
                    <a:solidFill>
                      <a:srgbClr val="000000"/>
                    </a:solidFill>
                    <a:latin typeface="+mn-lt"/>
                  </a:rPr>
                  <a:t>Data Management</a:t>
                </a:r>
              </a:p>
            </p:txBody>
          </p:sp>
          <p:sp>
            <p:nvSpPr>
              <p:cNvPr id="307" name="Rectangle 54"/>
              <p:cNvSpPr>
                <a:spLocks noChangeArrowheads="1"/>
              </p:cNvSpPr>
              <p:nvPr/>
            </p:nvSpPr>
            <p:spPr bwMode="auto">
              <a:xfrm>
                <a:off x="4368" y="837"/>
                <a:ext cx="1340" cy="290"/>
              </a:xfrm>
              <a:prstGeom prst="rect">
                <a:avLst/>
              </a:prstGeom>
              <a:noFill/>
              <a:ln>
                <a:noFill/>
              </a:ln>
              <a:effectLst>
                <a:outerShdw dist="17961" dir="2700000" algn="ctr" rotWithShape="0">
                  <a:srgbClr val="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kumimoji="1" lang="en-US" altLang="en-US" sz="1500">
                    <a:solidFill>
                      <a:srgbClr val="000000"/>
                    </a:solidFill>
                    <a:latin typeface="+mn-lt"/>
                  </a:rPr>
                  <a:t>Access</a:t>
                </a:r>
              </a:p>
            </p:txBody>
          </p:sp>
        </p:grpSp>
        <p:sp>
          <p:nvSpPr>
            <p:cNvPr id="13" name="Freeform 56"/>
            <p:cNvSpPr>
              <a:spLocks/>
            </p:cNvSpPr>
            <p:nvPr/>
          </p:nvSpPr>
          <p:spPr bwMode="auto">
            <a:xfrm>
              <a:off x="1781175" y="2516188"/>
              <a:ext cx="495300" cy="2903537"/>
            </a:xfrm>
            <a:custGeom>
              <a:avLst/>
              <a:gdLst>
                <a:gd name="T0" fmla="*/ 0 w 312"/>
                <a:gd name="T1" fmla="*/ 0 h 1699"/>
                <a:gd name="T2" fmla="*/ 2147483646 w 312"/>
                <a:gd name="T3" fmla="*/ 0 h 1699"/>
                <a:gd name="T4" fmla="*/ 2147483646 w 312"/>
                <a:gd name="T5" fmla="*/ 2147483646 h 1699"/>
                <a:gd name="T6" fmla="*/ 2147483646 w 312"/>
                <a:gd name="T7" fmla="*/ 2147483646 h 1699"/>
                <a:gd name="T8" fmla="*/ 0 60000 65536"/>
                <a:gd name="T9" fmla="*/ 0 60000 65536"/>
                <a:gd name="T10" fmla="*/ 0 60000 65536"/>
                <a:gd name="T11" fmla="*/ 0 60000 65536"/>
                <a:gd name="T12" fmla="*/ 0 w 312"/>
                <a:gd name="T13" fmla="*/ 0 h 1699"/>
                <a:gd name="T14" fmla="*/ 312 w 312"/>
                <a:gd name="T15" fmla="*/ 1699 h 1699"/>
              </a:gdLst>
              <a:ahLst/>
              <a:cxnLst>
                <a:cxn ang="T8">
                  <a:pos x="T0" y="T1"/>
                </a:cxn>
                <a:cxn ang="T9">
                  <a:pos x="T2" y="T3"/>
                </a:cxn>
                <a:cxn ang="T10">
                  <a:pos x="T4" y="T5"/>
                </a:cxn>
                <a:cxn ang="T11">
                  <a:pos x="T6" y="T7"/>
                </a:cxn>
              </a:cxnLst>
              <a:rect l="T12" t="T13" r="T14" b="T15"/>
              <a:pathLst>
                <a:path w="312" h="1699">
                  <a:moveTo>
                    <a:pt x="0" y="0"/>
                  </a:moveTo>
                  <a:lnTo>
                    <a:pt x="311" y="0"/>
                  </a:lnTo>
                  <a:lnTo>
                    <a:pt x="311" y="1698"/>
                  </a:lnTo>
                  <a:lnTo>
                    <a:pt x="9" y="1698"/>
                  </a:lnTo>
                </a:path>
              </a:pathLst>
            </a:custGeom>
            <a:noFill/>
            <a:ln w="12700" cap="rnd" cmpd="sng">
              <a:solidFill>
                <a:schemeClr val="tx1"/>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4" name="Line 57"/>
            <p:cNvSpPr>
              <a:spLocks noChangeShapeType="1"/>
            </p:cNvSpPr>
            <p:nvPr/>
          </p:nvSpPr>
          <p:spPr bwMode="auto">
            <a:xfrm>
              <a:off x="1563688" y="3978275"/>
              <a:ext cx="6580187" cy="53975"/>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nvGrpSpPr>
            <p:cNvPr id="15" name="Group 58"/>
            <p:cNvGrpSpPr>
              <a:grpSpLocks/>
            </p:cNvGrpSpPr>
            <p:nvPr/>
          </p:nvGrpSpPr>
          <p:grpSpPr bwMode="auto">
            <a:xfrm>
              <a:off x="533400" y="3505201"/>
              <a:ext cx="2114551" cy="1182688"/>
              <a:chOff x="297" y="2133"/>
              <a:chExt cx="1332" cy="745"/>
            </a:xfrm>
          </p:grpSpPr>
          <p:sp>
            <p:nvSpPr>
              <p:cNvPr id="286" name="Rectangle 59"/>
              <p:cNvSpPr>
                <a:spLocks noChangeArrowheads="1"/>
              </p:cNvSpPr>
              <p:nvPr/>
            </p:nvSpPr>
            <p:spPr bwMode="auto">
              <a:xfrm>
                <a:off x="297" y="2655"/>
                <a:ext cx="1332"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kumimoji="1" lang="en-US" altLang="en-US" sz="1050">
                    <a:latin typeface="+mn-lt"/>
                  </a:rPr>
                  <a:t>Operational</a:t>
                </a:r>
                <a:r>
                  <a:rPr kumimoji="1" lang="en-US" altLang="en-US" sz="1050">
                    <a:solidFill>
                      <a:srgbClr val="0000CC"/>
                    </a:solidFill>
                    <a:latin typeface="+mn-lt"/>
                  </a:rPr>
                  <a:t>  </a:t>
                </a:r>
                <a:r>
                  <a:rPr kumimoji="1" lang="en-US" altLang="en-US" sz="1050">
                    <a:latin typeface="+mn-lt"/>
                  </a:rPr>
                  <a:t>Data</a:t>
                </a:r>
              </a:p>
            </p:txBody>
          </p:sp>
          <p:grpSp>
            <p:nvGrpSpPr>
              <p:cNvPr id="287" name="Group 60"/>
              <p:cNvGrpSpPr>
                <a:grpSpLocks/>
              </p:cNvGrpSpPr>
              <p:nvPr/>
            </p:nvGrpSpPr>
            <p:grpSpPr bwMode="auto">
              <a:xfrm>
                <a:off x="583" y="2133"/>
                <a:ext cx="427" cy="561"/>
                <a:chOff x="583" y="2133"/>
                <a:chExt cx="427" cy="561"/>
              </a:xfrm>
            </p:grpSpPr>
            <p:sp>
              <p:nvSpPr>
                <p:cNvPr id="288" name="Oval 61"/>
                <p:cNvSpPr>
                  <a:spLocks noChangeArrowheads="1"/>
                </p:cNvSpPr>
                <p:nvPr/>
              </p:nvSpPr>
              <p:spPr bwMode="auto">
                <a:xfrm>
                  <a:off x="583" y="2494"/>
                  <a:ext cx="427" cy="200"/>
                </a:xfrm>
                <a:prstGeom prst="ellipse">
                  <a:avLst/>
                </a:prstGeom>
                <a:gradFill rotWithShape="0">
                  <a:gsLst>
                    <a:gs pos="0">
                      <a:srgbClr val="CCCCCC"/>
                    </a:gs>
                    <a:gs pos="100000">
                      <a:srgbClr val="FFFFFF"/>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grpSp>
              <p:nvGrpSpPr>
                <p:cNvPr id="289" name="Group 62"/>
                <p:cNvGrpSpPr>
                  <a:grpSpLocks/>
                </p:cNvGrpSpPr>
                <p:nvPr/>
              </p:nvGrpSpPr>
              <p:grpSpPr bwMode="auto">
                <a:xfrm>
                  <a:off x="647" y="2133"/>
                  <a:ext cx="307" cy="517"/>
                  <a:chOff x="647" y="2133"/>
                  <a:chExt cx="307" cy="517"/>
                </a:xfrm>
              </p:grpSpPr>
              <p:sp>
                <p:nvSpPr>
                  <p:cNvPr id="290" name="Freeform 63"/>
                  <p:cNvSpPr>
                    <a:spLocks/>
                  </p:cNvSpPr>
                  <p:nvPr/>
                </p:nvSpPr>
                <p:spPr bwMode="auto">
                  <a:xfrm>
                    <a:off x="647" y="2133"/>
                    <a:ext cx="305" cy="186"/>
                  </a:xfrm>
                  <a:custGeom>
                    <a:avLst/>
                    <a:gdLst>
                      <a:gd name="T0" fmla="*/ 0 w 305"/>
                      <a:gd name="T1" fmla="*/ 105 h 186"/>
                      <a:gd name="T2" fmla="*/ 212 w 305"/>
                      <a:gd name="T3" fmla="*/ 0 h 186"/>
                      <a:gd name="T4" fmla="*/ 304 w 305"/>
                      <a:gd name="T5" fmla="*/ 55 h 186"/>
                      <a:gd name="T6" fmla="*/ 122 w 305"/>
                      <a:gd name="T7" fmla="*/ 185 h 186"/>
                      <a:gd name="T8" fmla="*/ 0 w 305"/>
                      <a:gd name="T9" fmla="*/ 105 h 186"/>
                      <a:gd name="T10" fmla="*/ 0 60000 65536"/>
                      <a:gd name="T11" fmla="*/ 0 60000 65536"/>
                      <a:gd name="T12" fmla="*/ 0 60000 65536"/>
                      <a:gd name="T13" fmla="*/ 0 60000 65536"/>
                      <a:gd name="T14" fmla="*/ 0 60000 65536"/>
                      <a:gd name="T15" fmla="*/ 0 w 305"/>
                      <a:gd name="T16" fmla="*/ 0 h 186"/>
                      <a:gd name="T17" fmla="*/ 305 w 305"/>
                      <a:gd name="T18" fmla="*/ 186 h 186"/>
                    </a:gdLst>
                    <a:ahLst/>
                    <a:cxnLst>
                      <a:cxn ang="T10">
                        <a:pos x="T0" y="T1"/>
                      </a:cxn>
                      <a:cxn ang="T11">
                        <a:pos x="T2" y="T3"/>
                      </a:cxn>
                      <a:cxn ang="T12">
                        <a:pos x="T4" y="T5"/>
                      </a:cxn>
                      <a:cxn ang="T13">
                        <a:pos x="T6" y="T7"/>
                      </a:cxn>
                      <a:cxn ang="T14">
                        <a:pos x="T8" y="T9"/>
                      </a:cxn>
                    </a:cxnLst>
                    <a:rect l="T15" t="T16" r="T17" b="T18"/>
                    <a:pathLst>
                      <a:path w="305" h="186">
                        <a:moveTo>
                          <a:pt x="0" y="105"/>
                        </a:moveTo>
                        <a:lnTo>
                          <a:pt x="212" y="0"/>
                        </a:lnTo>
                        <a:lnTo>
                          <a:pt x="304" y="55"/>
                        </a:lnTo>
                        <a:lnTo>
                          <a:pt x="122" y="185"/>
                        </a:lnTo>
                        <a:lnTo>
                          <a:pt x="0" y="105"/>
                        </a:lnTo>
                      </a:path>
                    </a:pathLst>
                  </a:custGeom>
                  <a:solidFill>
                    <a:srgbClr val="87C2F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91" name="Freeform 64"/>
                  <p:cNvSpPr>
                    <a:spLocks/>
                  </p:cNvSpPr>
                  <p:nvPr/>
                </p:nvSpPr>
                <p:spPr bwMode="auto">
                  <a:xfrm>
                    <a:off x="770" y="2187"/>
                    <a:ext cx="184" cy="463"/>
                  </a:xfrm>
                  <a:custGeom>
                    <a:avLst/>
                    <a:gdLst>
                      <a:gd name="T0" fmla="*/ 0 w 184"/>
                      <a:gd name="T1" fmla="*/ 462 h 463"/>
                      <a:gd name="T2" fmla="*/ 0 w 184"/>
                      <a:gd name="T3" fmla="*/ 128 h 463"/>
                      <a:gd name="T4" fmla="*/ 183 w 184"/>
                      <a:gd name="T5" fmla="*/ 0 h 463"/>
                      <a:gd name="T6" fmla="*/ 183 w 184"/>
                      <a:gd name="T7" fmla="*/ 308 h 463"/>
                      <a:gd name="T8" fmla="*/ 0 w 184"/>
                      <a:gd name="T9" fmla="*/ 462 h 463"/>
                      <a:gd name="T10" fmla="*/ 0 60000 65536"/>
                      <a:gd name="T11" fmla="*/ 0 60000 65536"/>
                      <a:gd name="T12" fmla="*/ 0 60000 65536"/>
                      <a:gd name="T13" fmla="*/ 0 60000 65536"/>
                      <a:gd name="T14" fmla="*/ 0 60000 65536"/>
                      <a:gd name="T15" fmla="*/ 0 w 184"/>
                      <a:gd name="T16" fmla="*/ 0 h 463"/>
                      <a:gd name="T17" fmla="*/ 184 w 184"/>
                      <a:gd name="T18" fmla="*/ 463 h 463"/>
                    </a:gdLst>
                    <a:ahLst/>
                    <a:cxnLst>
                      <a:cxn ang="T10">
                        <a:pos x="T0" y="T1"/>
                      </a:cxn>
                      <a:cxn ang="T11">
                        <a:pos x="T2" y="T3"/>
                      </a:cxn>
                      <a:cxn ang="T12">
                        <a:pos x="T4" y="T5"/>
                      </a:cxn>
                      <a:cxn ang="T13">
                        <a:pos x="T6" y="T7"/>
                      </a:cxn>
                      <a:cxn ang="T14">
                        <a:pos x="T8" y="T9"/>
                      </a:cxn>
                    </a:cxnLst>
                    <a:rect l="T15" t="T16" r="T17" b="T18"/>
                    <a:pathLst>
                      <a:path w="184" h="463">
                        <a:moveTo>
                          <a:pt x="0" y="462"/>
                        </a:moveTo>
                        <a:lnTo>
                          <a:pt x="0" y="128"/>
                        </a:lnTo>
                        <a:lnTo>
                          <a:pt x="183" y="0"/>
                        </a:lnTo>
                        <a:lnTo>
                          <a:pt x="183" y="308"/>
                        </a:lnTo>
                        <a:lnTo>
                          <a:pt x="0" y="462"/>
                        </a:lnTo>
                      </a:path>
                    </a:pathLst>
                  </a:custGeom>
                  <a:solidFill>
                    <a:srgbClr val="188AE7"/>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92" name="Freeform 65"/>
                  <p:cNvSpPr>
                    <a:spLocks/>
                  </p:cNvSpPr>
                  <p:nvPr/>
                </p:nvSpPr>
                <p:spPr bwMode="auto">
                  <a:xfrm>
                    <a:off x="650" y="2240"/>
                    <a:ext cx="121" cy="410"/>
                  </a:xfrm>
                  <a:custGeom>
                    <a:avLst/>
                    <a:gdLst>
                      <a:gd name="T0" fmla="*/ 0 w 121"/>
                      <a:gd name="T1" fmla="*/ 0 h 410"/>
                      <a:gd name="T2" fmla="*/ 0 w 121"/>
                      <a:gd name="T3" fmla="*/ 342 h 410"/>
                      <a:gd name="T4" fmla="*/ 120 w 121"/>
                      <a:gd name="T5" fmla="*/ 409 h 410"/>
                      <a:gd name="T6" fmla="*/ 120 w 121"/>
                      <a:gd name="T7" fmla="*/ 76 h 410"/>
                      <a:gd name="T8" fmla="*/ 0 w 121"/>
                      <a:gd name="T9" fmla="*/ 0 h 410"/>
                      <a:gd name="T10" fmla="*/ 0 60000 65536"/>
                      <a:gd name="T11" fmla="*/ 0 60000 65536"/>
                      <a:gd name="T12" fmla="*/ 0 60000 65536"/>
                      <a:gd name="T13" fmla="*/ 0 60000 65536"/>
                      <a:gd name="T14" fmla="*/ 0 60000 65536"/>
                      <a:gd name="T15" fmla="*/ 0 w 121"/>
                      <a:gd name="T16" fmla="*/ 0 h 410"/>
                      <a:gd name="T17" fmla="*/ 121 w 121"/>
                      <a:gd name="T18" fmla="*/ 410 h 410"/>
                    </a:gdLst>
                    <a:ahLst/>
                    <a:cxnLst>
                      <a:cxn ang="T10">
                        <a:pos x="T0" y="T1"/>
                      </a:cxn>
                      <a:cxn ang="T11">
                        <a:pos x="T2" y="T3"/>
                      </a:cxn>
                      <a:cxn ang="T12">
                        <a:pos x="T4" y="T5"/>
                      </a:cxn>
                      <a:cxn ang="T13">
                        <a:pos x="T6" y="T7"/>
                      </a:cxn>
                      <a:cxn ang="T14">
                        <a:pos x="T8" y="T9"/>
                      </a:cxn>
                    </a:cxnLst>
                    <a:rect l="T15" t="T16" r="T17" b="T18"/>
                    <a:pathLst>
                      <a:path w="121" h="410">
                        <a:moveTo>
                          <a:pt x="0" y="0"/>
                        </a:moveTo>
                        <a:lnTo>
                          <a:pt x="0" y="342"/>
                        </a:lnTo>
                        <a:lnTo>
                          <a:pt x="120" y="409"/>
                        </a:lnTo>
                        <a:lnTo>
                          <a:pt x="120" y="76"/>
                        </a:lnTo>
                        <a:lnTo>
                          <a:pt x="0" y="0"/>
                        </a:lnTo>
                      </a:path>
                    </a:pathLst>
                  </a:custGeom>
                  <a:solidFill>
                    <a:srgbClr val="58AAE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93" name="Line 66"/>
                  <p:cNvSpPr>
                    <a:spLocks noChangeShapeType="1"/>
                  </p:cNvSpPr>
                  <p:nvPr/>
                </p:nvSpPr>
                <p:spPr bwMode="auto">
                  <a:xfrm flipV="1">
                    <a:off x="676" y="2255"/>
                    <a:ext cx="0" cy="343"/>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nvGrpSpPr>
                  <p:cNvPr id="294" name="Group 67"/>
                  <p:cNvGrpSpPr>
                    <a:grpSpLocks/>
                  </p:cNvGrpSpPr>
                  <p:nvPr/>
                </p:nvGrpSpPr>
                <p:grpSpPr bwMode="auto">
                  <a:xfrm>
                    <a:off x="692" y="2330"/>
                    <a:ext cx="61" cy="109"/>
                    <a:chOff x="692" y="2330"/>
                    <a:chExt cx="61" cy="109"/>
                  </a:xfrm>
                </p:grpSpPr>
                <p:sp>
                  <p:nvSpPr>
                    <p:cNvPr id="299" name="Line 68"/>
                    <p:cNvSpPr>
                      <a:spLocks noChangeShapeType="1"/>
                    </p:cNvSpPr>
                    <p:nvPr/>
                  </p:nvSpPr>
                  <p:spPr bwMode="auto">
                    <a:xfrm flipH="1" flipV="1">
                      <a:off x="692" y="2330"/>
                      <a:ext cx="61" cy="35"/>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300" name="Line 69"/>
                    <p:cNvSpPr>
                      <a:spLocks noChangeShapeType="1"/>
                    </p:cNvSpPr>
                    <p:nvPr/>
                  </p:nvSpPr>
                  <p:spPr bwMode="auto">
                    <a:xfrm flipH="1" flipV="1">
                      <a:off x="692" y="2367"/>
                      <a:ext cx="61" cy="3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301" name="Line 70"/>
                    <p:cNvSpPr>
                      <a:spLocks noChangeShapeType="1"/>
                    </p:cNvSpPr>
                    <p:nvPr/>
                  </p:nvSpPr>
                  <p:spPr bwMode="auto">
                    <a:xfrm flipH="1" flipV="1">
                      <a:off x="692" y="2405"/>
                      <a:ext cx="61" cy="34"/>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295" name="Group 71"/>
                  <p:cNvGrpSpPr>
                    <a:grpSpLocks/>
                  </p:cNvGrpSpPr>
                  <p:nvPr/>
                </p:nvGrpSpPr>
                <p:grpSpPr bwMode="auto">
                  <a:xfrm>
                    <a:off x="716" y="2521"/>
                    <a:ext cx="36" cy="95"/>
                    <a:chOff x="716" y="2521"/>
                    <a:chExt cx="36" cy="95"/>
                  </a:xfrm>
                </p:grpSpPr>
                <p:sp>
                  <p:nvSpPr>
                    <p:cNvPr id="296" name="Line 72"/>
                    <p:cNvSpPr>
                      <a:spLocks noChangeShapeType="1"/>
                    </p:cNvSpPr>
                    <p:nvPr/>
                  </p:nvSpPr>
                  <p:spPr bwMode="auto">
                    <a:xfrm flipV="1">
                      <a:off x="752" y="2544"/>
                      <a:ext cx="0" cy="72"/>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97" name="Line 73"/>
                    <p:cNvSpPr>
                      <a:spLocks noChangeShapeType="1"/>
                    </p:cNvSpPr>
                    <p:nvPr/>
                  </p:nvSpPr>
                  <p:spPr bwMode="auto">
                    <a:xfrm flipV="1">
                      <a:off x="733" y="2532"/>
                      <a:ext cx="0" cy="73"/>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98" name="Line 74"/>
                    <p:cNvSpPr>
                      <a:spLocks noChangeShapeType="1"/>
                    </p:cNvSpPr>
                    <p:nvPr/>
                  </p:nvSpPr>
                  <p:spPr bwMode="auto">
                    <a:xfrm flipV="1">
                      <a:off x="716" y="2521"/>
                      <a:ext cx="0" cy="72"/>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grpSp>
        <p:grpSp>
          <p:nvGrpSpPr>
            <p:cNvPr id="16" name="Group 75"/>
            <p:cNvGrpSpPr>
              <a:grpSpLocks/>
            </p:cNvGrpSpPr>
            <p:nvPr/>
          </p:nvGrpSpPr>
          <p:grpSpPr bwMode="auto">
            <a:xfrm>
              <a:off x="669609" y="1862249"/>
              <a:ext cx="1770062" cy="911225"/>
              <a:chOff x="373" y="1295"/>
              <a:chExt cx="905" cy="574"/>
            </a:xfrm>
          </p:grpSpPr>
          <p:grpSp>
            <p:nvGrpSpPr>
              <p:cNvPr id="247" name="Group 76"/>
              <p:cNvGrpSpPr>
                <a:grpSpLocks/>
              </p:cNvGrpSpPr>
              <p:nvPr/>
            </p:nvGrpSpPr>
            <p:grpSpPr bwMode="auto">
              <a:xfrm>
                <a:off x="373" y="1295"/>
                <a:ext cx="321" cy="539"/>
                <a:chOff x="373" y="1295"/>
                <a:chExt cx="321" cy="539"/>
              </a:xfrm>
            </p:grpSpPr>
            <p:sp>
              <p:nvSpPr>
                <p:cNvPr id="274" name="Freeform 77"/>
                <p:cNvSpPr>
                  <a:spLocks/>
                </p:cNvSpPr>
                <p:nvPr/>
              </p:nvSpPr>
              <p:spPr bwMode="auto">
                <a:xfrm>
                  <a:off x="373" y="1363"/>
                  <a:ext cx="180" cy="471"/>
                </a:xfrm>
                <a:custGeom>
                  <a:avLst/>
                  <a:gdLst>
                    <a:gd name="T0" fmla="*/ 179 w 180"/>
                    <a:gd name="T1" fmla="*/ 111 h 471"/>
                    <a:gd name="T2" fmla="*/ 0 w 180"/>
                    <a:gd name="T3" fmla="*/ 0 h 471"/>
                    <a:gd name="T4" fmla="*/ 0 w 180"/>
                    <a:gd name="T5" fmla="*/ 330 h 471"/>
                    <a:gd name="T6" fmla="*/ 178 w 180"/>
                    <a:gd name="T7" fmla="*/ 470 h 471"/>
                    <a:gd name="T8" fmla="*/ 179 w 180"/>
                    <a:gd name="T9" fmla="*/ 111 h 471"/>
                    <a:gd name="T10" fmla="*/ 0 60000 65536"/>
                    <a:gd name="T11" fmla="*/ 0 60000 65536"/>
                    <a:gd name="T12" fmla="*/ 0 60000 65536"/>
                    <a:gd name="T13" fmla="*/ 0 60000 65536"/>
                    <a:gd name="T14" fmla="*/ 0 60000 65536"/>
                    <a:gd name="T15" fmla="*/ 0 w 180"/>
                    <a:gd name="T16" fmla="*/ 0 h 471"/>
                    <a:gd name="T17" fmla="*/ 180 w 180"/>
                    <a:gd name="T18" fmla="*/ 471 h 471"/>
                  </a:gdLst>
                  <a:ahLst/>
                  <a:cxnLst>
                    <a:cxn ang="T10">
                      <a:pos x="T0" y="T1"/>
                    </a:cxn>
                    <a:cxn ang="T11">
                      <a:pos x="T2" y="T3"/>
                    </a:cxn>
                    <a:cxn ang="T12">
                      <a:pos x="T4" y="T5"/>
                    </a:cxn>
                    <a:cxn ang="T13">
                      <a:pos x="T6" y="T7"/>
                    </a:cxn>
                    <a:cxn ang="T14">
                      <a:pos x="T8" y="T9"/>
                    </a:cxn>
                  </a:cxnLst>
                  <a:rect l="T15" t="T16" r="T17" b="T18"/>
                  <a:pathLst>
                    <a:path w="180" h="471">
                      <a:moveTo>
                        <a:pt x="179" y="111"/>
                      </a:moveTo>
                      <a:lnTo>
                        <a:pt x="0" y="0"/>
                      </a:lnTo>
                      <a:lnTo>
                        <a:pt x="0" y="330"/>
                      </a:lnTo>
                      <a:lnTo>
                        <a:pt x="178" y="470"/>
                      </a:lnTo>
                      <a:lnTo>
                        <a:pt x="179" y="111"/>
                      </a:lnTo>
                    </a:path>
                  </a:pathLst>
                </a:custGeom>
                <a:solidFill>
                  <a:srgbClr val="58AAE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75" name="Freeform 78"/>
                <p:cNvSpPr>
                  <a:spLocks/>
                </p:cNvSpPr>
                <p:nvPr/>
              </p:nvSpPr>
              <p:spPr bwMode="auto">
                <a:xfrm>
                  <a:off x="553" y="1363"/>
                  <a:ext cx="141" cy="471"/>
                </a:xfrm>
                <a:custGeom>
                  <a:avLst/>
                  <a:gdLst>
                    <a:gd name="T0" fmla="*/ 0 w 141"/>
                    <a:gd name="T1" fmla="*/ 110 h 471"/>
                    <a:gd name="T2" fmla="*/ 140 w 141"/>
                    <a:gd name="T3" fmla="*/ 0 h 471"/>
                    <a:gd name="T4" fmla="*/ 140 w 141"/>
                    <a:gd name="T5" fmla="*/ 330 h 471"/>
                    <a:gd name="T6" fmla="*/ 0 w 141"/>
                    <a:gd name="T7" fmla="*/ 470 h 471"/>
                    <a:gd name="T8" fmla="*/ 0 w 141"/>
                    <a:gd name="T9" fmla="*/ 110 h 471"/>
                    <a:gd name="T10" fmla="*/ 0 60000 65536"/>
                    <a:gd name="T11" fmla="*/ 0 60000 65536"/>
                    <a:gd name="T12" fmla="*/ 0 60000 65536"/>
                    <a:gd name="T13" fmla="*/ 0 60000 65536"/>
                    <a:gd name="T14" fmla="*/ 0 60000 65536"/>
                    <a:gd name="T15" fmla="*/ 0 w 141"/>
                    <a:gd name="T16" fmla="*/ 0 h 471"/>
                    <a:gd name="T17" fmla="*/ 141 w 141"/>
                    <a:gd name="T18" fmla="*/ 471 h 471"/>
                  </a:gdLst>
                  <a:ahLst/>
                  <a:cxnLst>
                    <a:cxn ang="T10">
                      <a:pos x="T0" y="T1"/>
                    </a:cxn>
                    <a:cxn ang="T11">
                      <a:pos x="T2" y="T3"/>
                    </a:cxn>
                    <a:cxn ang="T12">
                      <a:pos x="T4" y="T5"/>
                    </a:cxn>
                    <a:cxn ang="T13">
                      <a:pos x="T6" y="T7"/>
                    </a:cxn>
                    <a:cxn ang="T14">
                      <a:pos x="T8" y="T9"/>
                    </a:cxn>
                  </a:cxnLst>
                  <a:rect l="T15" t="T16" r="T17" b="T18"/>
                  <a:pathLst>
                    <a:path w="141" h="471">
                      <a:moveTo>
                        <a:pt x="0" y="110"/>
                      </a:moveTo>
                      <a:lnTo>
                        <a:pt x="140" y="0"/>
                      </a:lnTo>
                      <a:lnTo>
                        <a:pt x="140" y="330"/>
                      </a:lnTo>
                      <a:lnTo>
                        <a:pt x="0" y="470"/>
                      </a:lnTo>
                      <a:lnTo>
                        <a:pt x="0" y="110"/>
                      </a:lnTo>
                    </a:path>
                  </a:pathLst>
                </a:custGeom>
                <a:solidFill>
                  <a:srgbClr val="188AE7"/>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76" name="Freeform 79"/>
                <p:cNvSpPr>
                  <a:spLocks/>
                </p:cNvSpPr>
                <p:nvPr/>
              </p:nvSpPr>
              <p:spPr bwMode="auto">
                <a:xfrm>
                  <a:off x="426" y="1396"/>
                  <a:ext cx="61" cy="386"/>
                </a:xfrm>
                <a:custGeom>
                  <a:avLst/>
                  <a:gdLst>
                    <a:gd name="T0" fmla="*/ 0 w 61"/>
                    <a:gd name="T1" fmla="*/ 0 h 386"/>
                    <a:gd name="T2" fmla="*/ 0 w 61"/>
                    <a:gd name="T3" fmla="*/ 338 h 386"/>
                    <a:gd name="T4" fmla="*/ 60 w 61"/>
                    <a:gd name="T5" fmla="*/ 385 h 386"/>
                    <a:gd name="T6" fmla="*/ 60 w 61"/>
                    <a:gd name="T7" fmla="*/ 36 h 386"/>
                    <a:gd name="T8" fmla="*/ 0 w 61"/>
                    <a:gd name="T9" fmla="*/ 0 h 386"/>
                    <a:gd name="T10" fmla="*/ 0 60000 65536"/>
                    <a:gd name="T11" fmla="*/ 0 60000 65536"/>
                    <a:gd name="T12" fmla="*/ 0 60000 65536"/>
                    <a:gd name="T13" fmla="*/ 0 60000 65536"/>
                    <a:gd name="T14" fmla="*/ 0 60000 65536"/>
                    <a:gd name="T15" fmla="*/ 0 w 61"/>
                    <a:gd name="T16" fmla="*/ 0 h 386"/>
                    <a:gd name="T17" fmla="*/ 61 w 61"/>
                    <a:gd name="T18" fmla="*/ 386 h 386"/>
                  </a:gdLst>
                  <a:ahLst/>
                  <a:cxnLst>
                    <a:cxn ang="T10">
                      <a:pos x="T0" y="T1"/>
                    </a:cxn>
                    <a:cxn ang="T11">
                      <a:pos x="T2" y="T3"/>
                    </a:cxn>
                    <a:cxn ang="T12">
                      <a:pos x="T4" y="T5"/>
                    </a:cxn>
                    <a:cxn ang="T13">
                      <a:pos x="T6" y="T7"/>
                    </a:cxn>
                    <a:cxn ang="T14">
                      <a:pos x="T8" y="T9"/>
                    </a:cxn>
                  </a:cxnLst>
                  <a:rect l="T15" t="T16" r="T17" b="T18"/>
                  <a:pathLst>
                    <a:path w="61" h="386">
                      <a:moveTo>
                        <a:pt x="0" y="0"/>
                      </a:moveTo>
                      <a:lnTo>
                        <a:pt x="0" y="338"/>
                      </a:lnTo>
                      <a:lnTo>
                        <a:pt x="60" y="385"/>
                      </a:lnTo>
                      <a:lnTo>
                        <a:pt x="60" y="36"/>
                      </a:lnTo>
                      <a:lnTo>
                        <a:pt x="0" y="0"/>
                      </a:lnTo>
                    </a:path>
                  </a:pathLst>
                </a:custGeom>
                <a:solidFill>
                  <a:srgbClr val="87C2F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77" name="Line 80"/>
                <p:cNvSpPr>
                  <a:spLocks noChangeShapeType="1"/>
                </p:cNvSpPr>
                <p:nvPr/>
              </p:nvSpPr>
              <p:spPr bwMode="auto">
                <a:xfrm>
                  <a:off x="433" y="1444"/>
                  <a:ext cx="45" cy="2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78" name="Line 81"/>
                <p:cNvSpPr>
                  <a:spLocks noChangeShapeType="1"/>
                </p:cNvSpPr>
                <p:nvPr/>
              </p:nvSpPr>
              <p:spPr bwMode="auto">
                <a:xfrm>
                  <a:off x="502" y="1715"/>
                  <a:ext cx="40" cy="3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79" name="Line 82"/>
                <p:cNvSpPr>
                  <a:spLocks noChangeShapeType="1"/>
                </p:cNvSpPr>
                <p:nvPr/>
              </p:nvSpPr>
              <p:spPr bwMode="auto">
                <a:xfrm>
                  <a:off x="502" y="1743"/>
                  <a:ext cx="40" cy="3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80" name="Line 83"/>
                <p:cNvSpPr>
                  <a:spLocks noChangeShapeType="1"/>
                </p:cNvSpPr>
                <p:nvPr/>
              </p:nvSpPr>
              <p:spPr bwMode="auto">
                <a:xfrm>
                  <a:off x="502" y="1769"/>
                  <a:ext cx="40" cy="3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81" name="Line 84"/>
                <p:cNvSpPr>
                  <a:spLocks noChangeShapeType="1"/>
                </p:cNvSpPr>
                <p:nvPr/>
              </p:nvSpPr>
              <p:spPr bwMode="auto">
                <a:xfrm>
                  <a:off x="373" y="1513"/>
                  <a:ext cx="179" cy="10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82" name="Freeform 85"/>
                <p:cNvSpPr>
                  <a:spLocks/>
                </p:cNvSpPr>
                <p:nvPr/>
              </p:nvSpPr>
              <p:spPr bwMode="auto">
                <a:xfrm>
                  <a:off x="373" y="1295"/>
                  <a:ext cx="321" cy="180"/>
                </a:xfrm>
                <a:custGeom>
                  <a:avLst/>
                  <a:gdLst>
                    <a:gd name="T0" fmla="*/ 179 w 321"/>
                    <a:gd name="T1" fmla="*/ 179 h 180"/>
                    <a:gd name="T2" fmla="*/ 0 w 321"/>
                    <a:gd name="T3" fmla="*/ 68 h 180"/>
                    <a:gd name="T4" fmla="*/ 160 w 321"/>
                    <a:gd name="T5" fmla="*/ 0 h 180"/>
                    <a:gd name="T6" fmla="*/ 320 w 321"/>
                    <a:gd name="T7" fmla="*/ 69 h 180"/>
                    <a:gd name="T8" fmla="*/ 179 w 321"/>
                    <a:gd name="T9" fmla="*/ 179 h 180"/>
                    <a:gd name="T10" fmla="*/ 0 60000 65536"/>
                    <a:gd name="T11" fmla="*/ 0 60000 65536"/>
                    <a:gd name="T12" fmla="*/ 0 60000 65536"/>
                    <a:gd name="T13" fmla="*/ 0 60000 65536"/>
                    <a:gd name="T14" fmla="*/ 0 60000 65536"/>
                    <a:gd name="T15" fmla="*/ 0 w 321"/>
                    <a:gd name="T16" fmla="*/ 0 h 180"/>
                    <a:gd name="T17" fmla="*/ 321 w 321"/>
                    <a:gd name="T18" fmla="*/ 180 h 180"/>
                  </a:gdLst>
                  <a:ahLst/>
                  <a:cxnLst>
                    <a:cxn ang="T10">
                      <a:pos x="T0" y="T1"/>
                    </a:cxn>
                    <a:cxn ang="T11">
                      <a:pos x="T2" y="T3"/>
                    </a:cxn>
                    <a:cxn ang="T12">
                      <a:pos x="T4" y="T5"/>
                    </a:cxn>
                    <a:cxn ang="T13">
                      <a:pos x="T6" y="T7"/>
                    </a:cxn>
                    <a:cxn ang="T14">
                      <a:pos x="T8" y="T9"/>
                    </a:cxn>
                  </a:cxnLst>
                  <a:rect l="T15" t="T16" r="T17" b="T18"/>
                  <a:pathLst>
                    <a:path w="321" h="180">
                      <a:moveTo>
                        <a:pt x="179" y="179"/>
                      </a:moveTo>
                      <a:lnTo>
                        <a:pt x="0" y="68"/>
                      </a:lnTo>
                      <a:lnTo>
                        <a:pt x="160" y="0"/>
                      </a:lnTo>
                      <a:lnTo>
                        <a:pt x="320" y="69"/>
                      </a:lnTo>
                      <a:lnTo>
                        <a:pt x="179" y="179"/>
                      </a:lnTo>
                    </a:path>
                  </a:pathLst>
                </a:custGeom>
                <a:solidFill>
                  <a:srgbClr val="B6DAF8"/>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83" name="Line 86"/>
                <p:cNvSpPr>
                  <a:spLocks noChangeShapeType="1"/>
                </p:cNvSpPr>
                <p:nvPr/>
              </p:nvSpPr>
              <p:spPr bwMode="auto">
                <a:xfrm>
                  <a:off x="373" y="1572"/>
                  <a:ext cx="179" cy="11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84" name="Line 87"/>
                <p:cNvSpPr>
                  <a:spLocks noChangeShapeType="1"/>
                </p:cNvSpPr>
                <p:nvPr/>
              </p:nvSpPr>
              <p:spPr bwMode="auto">
                <a:xfrm>
                  <a:off x="433" y="1472"/>
                  <a:ext cx="45" cy="2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85" name="Line 88"/>
                <p:cNvSpPr>
                  <a:spLocks noChangeShapeType="1"/>
                </p:cNvSpPr>
                <p:nvPr/>
              </p:nvSpPr>
              <p:spPr bwMode="auto">
                <a:xfrm>
                  <a:off x="433" y="1499"/>
                  <a:ext cx="45" cy="27"/>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248" name="Group 89"/>
              <p:cNvGrpSpPr>
                <a:grpSpLocks/>
              </p:cNvGrpSpPr>
              <p:nvPr/>
            </p:nvGrpSpPr>
            <p:grpSpPr bwMode="auto">
              <a:xfrm>
                <a:off x="659" y="1312"/>
                <a:ext cx="321" cy="539"/>
                <a:chOff x="659" y="1312"/>
                <a:chExt cx="321" cy="539"/>
              </a:xfrm>
            </p:grpSpPr>
            <p:sp>
              <p:nvSpPr>
                <p:cNvPr id="262" name="Freeform 90"/>
                <p:cNvSpPr>
                  <a:spLocks/>
                </p:cNvSpPr>
                <p:nvPr/>
              </p:nvSpPr>
              <p:spPr bwMode="auto">
                <a:xfrm>
                  <a:off x="659" y="1380"/>
                  <a:ext cx="180" cy="471"/>
                </a:xfrm>
                <a:custGeom>
                  <a:avLst/>
                  <a:gdLst>
                    <a:gd name="T0" fmla="*/ 179 w 180"/>
                    <a:gd name="T1" fmla="*/ 111 h 471"/>
                    <a:gd name="T2" fmla="*/ 0 w 180"/>
                    <a:gd name="T3" fmla="*/ 0 h 471"/>
                    <a:gd name="T4" fmla="*/ 0 w 180"/>
                    <a:gd name="T5" fmla="*/ 330 h 471"/>
                    <a:gd name="T6" fmla="*/ 178 w 180"/>
                    <a:gd name="T7" fmla="*/ 470 h 471"/>
                    <a:gd name="T8" fmla="*/ 179 w 180"/>
                    <a:gd name="T9" fmla="*/ 111 h 471"/>
                    <a:gd name="T10" fmla="*/ 0 60000 65536"/>
                    <a:gd name="T11" fmla="*/ 0 60000 65536"/>
                    <a:gd name="T12" fmla="*/ 0 60000 65536"/>
                    <a:gd name="T13" fmla="*/ 0 60000 65536"/>
                    <a:gd name="T14" fmla="*/ 0 60000 65536"/>
                    <a:gd name="T15" fmla="*/ 0 w 180"/>
                    <a:gd name="T16" fmla="*/ 0 h 471"/>
                    <a:gd name="T17" fmla="*/ 180 w 180"/>
                    <a:gd name="T18" fmla="*/ 471 h 471"/>
                  </a:gdLst>
                  <a:ahLst/>
                  <a:cxnLst>
                    <a:cxn ang="T10">
                      <a:pos x="T0" y="T1"/>
                    </a:cxn>
                    <a:cxn ang="T11">
                      <a:pos x="T2" y="T3"/>
                    </a:cxn>
                    <a:cxn ang="T12">
                      <a:pos x="T4" y="T5"/>
                    </a:cxn>
                    <a:cxn ang="T13">
                      <a:pos x="T6" y="T7"/>
                    </a:cxn>
                    <a:cxn ang="T14">
                      <a:pos x="T8" y="T9"/>
                    </a:cxn>
                  </a:cxnLst>
                  <a:rect l="T15" t="T16" r="T17" b="T18"/>
                  <a:pathLst>
                    <a:path w="180" h="471">
                      <a:moveTo>
                        <a:pt x="179" y="111"/>
                      </a:moveTo>
                      <a:lnTo>
                        <a:pt x="0" y="0"/>
                      </a:lnTo>
                      <a:lnTo>
                        <a:pt x="0" y="330"/>
                      </a:lnTo>
                      <a:lnTo>
                        <a:pt x="178" y="470"/>
                      </a:lnTo>
                      <a:lnTo>
                        <a:pt x="179" y="111"/>
                      </a:lnTo>
                    </a:path>
                  </a:pathLst>
                </a:custGeom>
                <a:solidFill>
                  <a:srgbClr val="58AAE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63" name="Freeform 91"/>
                <p:cNvSpPr>
                  <a:spLocks/>
                </p:cNvSpPr>
                <p:nvPr/>
              </p:nvSpPr>
              <p:spPr bwMode="auto">
                <a:xfrm>
                  <a:off x="839" y="1380"/>
                  <a:ext cx="141" cy="471"/>
                </a:xfrm>
                <a:custGeom>
                  <a:avLst/>
                  <a:gdLst>
                    <a:gd name="T0" fmla="*/ 0 w 141"/>
                    <a:gd name="T1" fmla="*/ 110 h 471"/>
                    <a:gd name="T2" fmla="*/ 140 w 141"/>
                    <a:gd name="T3" fmla="*/ 0 h 471"/>
                    <a:gd name="T4" fmla="*/ 140 w 141"/>
                    <a:gd name="T5" fmla="*/ 330 h 471"/>
                    <a:gd name="T6" fmla="*/ 0 w 141"/>
                    <a:gd name="T7" fmla="*/ 470 h 471"/>
                    <a:gd name="T8" fmla="*/ 0 w 141"/>
                    <a:gd name="T9" fmla="*/ 110 h 471"/>
                    <a:gd name="T10" fmla="*/ 0 60000 65536"/>
                    <a:gd name="T11" fmla="*/ 0 60000 65536"/>
                    <a:gd name="T12" fmla="*/ 0 60000 65536"/>
                    <a:gd name="T13" fmla="*/ 0 60000 65536"/>
                    <a:gd name="T14" fmla="*/ 0 60000 65536"/>
                    <a:gd name="T15" fmla="*/ 0 w 141"/>
                    <a:gd name="T16" fmla="*/ 0 h 471"/>
                    <a:gd name="T17" fmla="*/ 141 w 141"/>
                    <a:gd name="T18" fmla="*/ 471 h 471"/>
                  </a:gdLst>
                  <a:ahLst/>
                  <a:cxnLst>
                    <a:cxn ang="T10">
                      <a:pos x="T0" y="T1"/>
                    </a:cxn>
                    <a:cxn ang="T11">
                      <a:pos x="T2" y="T3"/>
                    </a:cxn>
                    <a:cxn ang="T12">
                      <a:pos x="T4" y="T5"/>
                    </a:cxn>
                    <a:cxn ang="T13">
                      <a:pos x="T6" y="T7"/>
                    </a:cxn>
                    <a:cxn ang="T14">
                      <a:pos x="T8" y="T9"/>
                    </a:cxn>
                  </a:cxnLst>
                  <a:rect l="T15" t="T16" r="T17" b="T18"/>
                  <a:pathLst>
                    <a:path w="141" h="471">
                      <a:moveTo>
                        <a:pt x="0" y="110"/>
                      </a:moveTo>
                      <a:lnTo>
                        <a:pt x="140" y="0"/>
                      </a:lnTo>
                      <a:lnTo>
                        <a:pt x="140" y="330"/>
                      </a:lnTo>
                      <a:lnTo>
                        <a:pt x="0" y="470"/>
                      </a:lnTo>
                      <a:lnTo>
                        <a:pt x="0" y="110"/>
                      </a:lnTo>
                    </a:path>
                  </a:pathLst>
                </a:custGeom>
                <a:solidFill>
                  <a:srgbClr val="188AE7"/>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64" name="Freeform 92"/>
                <p:cNvSpPr>
                  <a:spLocks/>
                </p:cNvSpPr>
                <p:nvPr/>
              </p:nvSpPr>
              <p:spPr bwMode="auto">
                <a:xfrm>
                  <a:off x="712" y="1413"/>
                  <a:ext cx="61" cy="386"/>
                </a:xfrm>
                <a:custGeom>
                  <a:avLst/>
                  <a:gdLst>
                    <a:gd name="T0" fmla="*/ 0 w 61"/>
                    <a:gd name="T1" fmla="*/ 0 h 386"/>
                    <a:gd name="T2" fmla="*/ 0 w 61"/>
                    <a:gd name="T3" fmla="*/ 338 h 386"/>
                    <a:gd name="T4" fmla="*/ 60 w 61"/>
                    <a:gd name="T5" fmla="*/ 385 h 386"/>
                    <a:gd name="T6" fmla="*/ 60 w 61"/>
                    <a:gd name="T7" fmla="*/ 36 h 386"/>
                    <a:gd name="T8" fmla="*/ 0 w 61"/>
                    <a:gd name="T9" fmla="*/ 0 h 386"/>
                    <a:gd name="T10" fmla="*/ 0 60000 65536"/>
                    <a:gd name="T11" fmla="*/ 0 60000 65536"/>
                    <a:gd name="T12" fmla="*/ 0 60000 65536"/>
                    <a:gd name="T13" fmla="*/ 0 60000 65536"/>
                    <a:gd name="T14" fmla="*/ 0 60000 65536"/>
                    <a:gd name="T15" fmla="*/ 0 w 61"/>
                    <a:gd name="T16" fmla="*/ 0 h 386"/>
                    <a:gd name="T17" fmla="*/ 61 w 61"/>
                    <a:gd name="T18" fmla="*/ 386 h 386"/>
                  </a:gdLst>
                  <a:ahLst/>
                  <a:cxnLst>
                    <a:cxn ang="T10">
                      <a:pos x="T0" y="T1"/>
                    </a:cxn>
                    <a:cxn ang="T11">
                      <a:pos x="T2" y="T3"/>
                    </a:cxn>
                    <a:cxn ang="T12">
                      <a:pos x="T4" y="T5"/>
                    </a:cxn>
                    <a:cxn ang="T13">
                      <a:pos x="T6" y="T7"/>
                    </a:cxn>
                    <a:cxn ang="T14">
                      <a:pos x="T8" y="T9"/>
                    </a:cxn>
                  </a:cxnLst>
                  <a:rect l="T15" t="T16" r="T17" b="T18"/>
                  <a:pathLst>
                    <a:path w="61" h="386">
                      <a:moveTo>
                        <a:pt x="0" y="0"/>
                      </a:moveTo>
                      <a:lnTo>
                        <a:pt x="0" y="338"/>
                      </a:lnTo>
                      <a:lnTo>
                        <a:pt x="60" y="385"/>
                      </a:lnTo>
                      <a:lnTo>
                        <a:pt x="60" y="36"/>
                      </a:lnTo>
                      <a:lnTo>
                        <a:pt x="0" y="0"/>
                      </a:lnTo>
                    </a:path>
                  </a:pathLst>
                </a:custGeom>
                <a:solidFill>
                  <a:srgbClr val="87C2F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65" name="Line 93"/>
                <p:cNvSpPr>
                  <a:spLocks noChangeShapeType="1"/>
                </p:cNvSpPr>
                <p:nvPr/>
              </p:nvSpPr>
              <p:spPr bwMode="auto">
                <a:xfrm>
                  <a:off x="719" y="1461"/>
                  <a:ext cx="45" cy="2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66" name="Line 94"/>
                <p:cNvSpPr>
                  <a:spLocks noChangeShapeType="1"/>
                </p:cNvSpPr>
                <p:nvPr/>
              </p:nvSpPr>
              <p:spPr bwMode="auto">
                <a:xfrm>
                  <a:off x="788" y="1732"/>
                  <a:ext cx="40" cy="3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67" name="Line 95"/>
                <p:cNvSpPr>
                  <a:spLocks noChangeShapeType="1"/>
                </p:cNvSpPr>
                <p:nvPr/>
              </p:nvSpPr>
              <p:spPr bwMode="auto">
                <a:xfrm>
                  <a:off x="788" y="1760"/>
                  <a:ext cx="40" cy="3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68" name="Line 96"/>
                <p:cNvSpPr>
                  <a:spLocks noChangeShapeType="1"/>
                </p:cNvSpPr>
                <p:nvPr/>
              </p:nvSpPr>
              <p:spPr bwMode="auto">
                <a:xfrm>
                  <a:off x="788" y="1786"/>
                  <a:ext cx="40" cy="3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69" name="Line 97"/>
                <p:cNvSpPr>
                  <a:spLocks noChangeShapeType="1"/>
                </p:cNvSpPr>
                <p:nvPr/>
              </p:nvSpPr>
              <p:spPr bwMode="auto">
                <a:xfrm>
                  <a:off x="659" y="1530"/>
                  <a:ext cx="179" cy="10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70" name="Freeform 98"/>
                <p:cNvSpPr>
                  <a:spLocks/>
                </p:cNvSpPr>
                <p:nvPr/>
              </p:nvSpPr>
              <p:spPr bwMode="auto">
                <a:xfrm>
                  <a:off x="659" y="1312"/>
                  <a:ext cx="321" cy="180"/>
                </a:xfrm>
                <a:custGeom>
                  <a:avLst/>
                  <a:gdLst>
                    <a:gd name="T0" fmla="*/ 179 w 321"/>
                    <a:gd name="T1" fmla="*/ 179 h 180"/>
                    <a:gd name="T2" fmla="*/ 0 w 321"/>
                    <a:gd name="T3" fmla="*/ 68 h 180"/>
                    <a:gd name="T4" fmla="*/ 160 w 321"/>
                    <a:gd name="T5" fmla="*/ 0 h 180"/>
                    <a:gd name="T6" fmla="*/ 320 w 321"/>
                    <a:gd name="T7" fmla="*/ 69 h 180"/>
                    <a:gd name="T8" fmla="*/ 179 w 321"/>
                    <a:gd name="T9" fmla="*/ 179 h 180"/>
                    <a:gd name="T10" fmla="*/ 0 60000 65536"/>
                    <a:gd name="T11" fmla="*/ 0 60000 65536"/>
                    <a:gd name="T12" fmla="*/ 0 60000 65536"/>
                    <a:gd name="T13" fmla="*/ 0 60000 65536"/>
                    <a:gd name="T14" fmla="*/ 0 60000 65536"/>
                    <a:gd name="T15" fmla="*/ 0 w 321"/>
                    <a:gd name="T16" fmla="*/ 0 h 180"/>
                    <a:gd name="T17" fmla="*/ 321 w 321"/>
                    <a:gd name="T18" fmla="*/ 180 h 180"/>
                  </a:gdLst>
                  <a:ahLst/>
                  <a:cxnLst>
                    <a:cxn ang="T10">
                      <a:pos x="T0" y="T1"/>
                    </a:cxn>
                    <a:cxn ang="T11">
                      <a:pos x="T2" y="T3"/>
                    </a:cxn>
                    <a:cxn ang="T12">
                      <a:pos x="T4" y="T5"/>
                    </a:cxn>
                    <a:cxn ang="T13">
                      <a:pos x="T6" y="T7"/>
                    </a:cxn>
                    <a:cxn ang="T14">
                      <a:pos x="T8" y="T9"/>
                    </a:cxn>
                  </a:cxnLst>
                  <a:rect l="T15" t="T16" r="T17" b="T18"/>
                  <a:pathLst>
                    <a:path w="321" h="180">
                      <a:moveTo>
                        <a:pt x="179" y="179"/>
                      </a:moveTo>
                      <a:lnTo>
                        <a:pt x="0" y="68"/>
                      </a:lnTo>
                      <a:lnTo>
                        <a:pt x="160" y="0"/>
                      </a:lnTo>
                      <a:lnTo>
                        <a:pt x="320" y="69"/>
                      </a:lnTo>
                      <a:lnTo>
                        <a:pt x="179" y="179"/>
                      </a:lnTo>
                    </a:path>
                  </a:pathLst>
                </a:custGeom>
                <a:solidFill>
                  <a:srgbClr val="B6DAF8"/>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71" name="Line 99"/>
                <p:cNvSpPr>
                  <a:spLocks noChangeShapeType="1"/>
                </p:cNvSpPr>
                <p:nvPr/>
              </p:nvSpPr>
              <p:spPr bwMode="auto">
                <a:xfrm>
                  <a:off x="659" y="1589"/>
                  <a:ext cx="179" cy="11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72" name="Line 100"/>
                <p:cNvSpPr>
                  <a:spLocks noChangeShapeType="1"/>
                </p:cNvSpPr>
                <p:nvPr/>
              </p:nvSpPr>
              <p:spPr bwMode="auto">
                <a:xfrm>
                  <a:off x="719" y="1489"/>
                  <a:ext cx="45" cy="2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73" name="Line 101"/>
                <p:cNvSpPr>
                  <a:spLocks noChangeShapeType="1"/>
                </p:cNvSpPr>
                <p:nvPr/>
              </p:nvSpPr>
              <p:spPr bwMode="auto">
                <a:xfrm>
                  <a:off x="719" y="1516"/>
                  <a:ext cx="45" cy="27"/>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249" name="Group 102"/>
              <p:cNvGrpSpPr>
                <a:grpSpLocks/>
              </p:cNvGrpSpPr>
              <p:nvPr/>
            </p:nvGrpSpPr>
            <p:grpSpPr bwMode="auto">
              <a:xfrm>
                <a:off x="957" y="1330"/>
                <a:ext cx="321" cy="539"/>
                <a:chOff x="957" y="1330"/>
                <a:chExt cx="321" cy="539"/>
              </a:xfrm>
            </p:grpSpPr>
            <p:sp>
              <p:nvSpPr>
                <p:cNvPr id="250" name="Freeform 103"/>
                <p:cNvSpPr>
                  <a:spLocks/>
                </p:cNvSpPr>
                <p:nvPr/>
              </p:nvSpPr>
              <p:spPr bwMode="auto">
                <a:xfrm>
                  <a:off x="957" y="1398"/>
                  <a:ext cx="180" cy="471"/>
                </a:xfrm>
                <a:custGeom>
                  <a:avLst/>
                  <a:gdLst>
                    <a:gd name="T0" fmla="*/ 179 w 180"/>
                    <a:gd name="T1" fmla="*/ 111 h 471"/>
                    <a:gd name="T2" fmla="*/ 0 w 180"/>
                    <a:gd name="T3" fmla="*/ 0 h 471"/>
                    <a:gd name="T4" fmla="*/ 0 w 180"/>
                    <a:gd name="T5" fmla="*/ 330 h 471"/>
                    <a:gd name="T6" fmla="*/ 178 w 180"/>
                    <a:gd name="T7" fmla="*/ 470 h 471"/>
                    <a:gd name="T8" fmla="*/ 179 w 180"/>
                    <a:gd name="T9" fmla="*/ 111 h 471"/>
                    <a:gd name="T10" fmla="*/ 0 60000 65536"/>
                    <a:gd name="T11" fmla="*/ 0 60000 65536"/>
                    <a:gd name="T12" fmla="*/ 0 60000 65536"/>
                    <a:gd name="T13" fmla="*/ 0 60000 65536"/>
                    <a:gd name="T14" fmla="*/ 0 60000 65536"/>
                    <a:gd name="T15" fmla="*/ 0 w 180"/>
                    <a:gd name="T16" fmla="*/ 0 h 471"/>
                    <a:gd name="T17" fmla="*/ 180 w 180"/>
                    <a:gd name="T18" fmla="*/ 471 h 471"/>
                  </a:gdLst>
                  <a:ahLst/>
                  <a:cxnLst>
                    <a:cxn ang="T10">
                      <a:pos x="T0" y="T1"/>
                    </a:cxn>
                    <a:cxn ang="T11">
                      <a:pos x="T2" y="T3"/>
                    </a:cxn>
                    <a:cxn ang="T12">
                      <a:pos x="T4" y="T5"/>
                    </a:cxn>
                    <a:cxn ang="T13">
                      <a:pos x="T6" y="T7"/>
                    </a:cxn>
                    <a:cxn ang="T14">
                      <a:pos x="T8" y="T9"/>
                    </a:cxn>
                  </a:cxnLst>
                  <a:rect l="T15" t="T16" r="T17" b="T18"/>
                  <a:pathLst>
                    <a:path w="180" h="471">
                      <a:moveTo>
                        <a:pt x="179" y="111"/>
                      </a:moveTo>
                      <a:lnTo>
                        <a:pt x="0" y="0"/>
                      </a:lnTo>
                      <a:lnTo>
                        <a:pt x="0" y="330"/>
                      </a:lnTo>
                      <a:lnTo>
                        <a:pt x="178" y="470"/>
                      </a:lnTo>
                      <a:lnTo>
                        <a:pt x="179" y="111"/>
                      </a:lnTo>
                    </a:path>
                  </a:pathLst>
                </a:custGeom>
                <a:solidFill>
                  <a:srgbClr val="58AAE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51" name="Freeform 104"/>
                <p:cNvSpPr>
                  <a:spLocks/>
                </p:cNvSpPr>
                <p:nvPr/>
              </p:nvSpPr>
              <p:spPr bwMode="auto">
                <a:xfrm>
                  <a:off x="1137" y="1398"/>
                  <a:ext cx="141" cy="471"/>
                </a:xfrm>
                <a:custGeom>
                  <a:avLst/>
                  <a:gdLst>
                    <a:gd name="T0" fmla="*/ 0 w 141"/>
                    <a:gd name="T1" fmla="*/ 110 h 471"/>
                    <a:gd name="T2" fmla="*/ 140 w 141"/>
                    <a:gd name="T3" fmla="*/ 0 h 471"/>
                    <a:gd name="T4" fmla="*/ 140 w 141"/>
                    <a:gd name="T5" fmla="*/ 330 h 471"/>
                    <a:gd name="T6" fmla="*/ 0 w 141"/>
                    <a:gd name="T7" fmla="*/ 470 h 471"/>
                    <a:gd name="T8" fmla="*/ 0 w 141"/>
                    <a:gd name="T9" fmla="*/ 110 h 471"/>
                    <a:gd name="T10" fmla="*/ 0 60000 65536"/>
                    <a:gd name="T11" fmla="*/ 0 60000 65536"/>
                    <a:gd name="T12" fmla="*/ 0 60000 65536"/>
                    <a:gd name="T13" fmla="*/ 0 60000 65536"/>
                    <a:gd name="T14" fmla="*/ 0 60000 65536"/>
                    <a:gd name="T15" fmla="*/ 0 w 141"/>
                    <a:gd name="T16" fmla="*/ 0 h 471"/>
                    <a:gd name="T17" fmla="*/ 141 w 141"/>
                    <a:gd name="T18" fmla="*/ 471 h 471"/>
                  </a:gdLst>
                  <a:ahLst/>
                  <a:cxnLst>
                    <a:cxn ang="T10">
                      <a:pos x="T0" y="T1"/>
                    </a:cxn>
                    <a:cxn ang="T11">
                      <a:pos x="T2" y="T3"/>
                    </a:cxn>
                    <a:cxn ang="T12">
                      <a:pos x="T4" y="T5"/>
                    </a:cxn>
                    <a:cxn ang="T13">
                      <a:pos x="T6" y="T7"/>
                    </a:cxn>
                    <a:cxn ang="T14">
                      <a:pos x="T8" y="T9"/>
                    </a:cxn>
                  </a:cxnLst>
                  <a:rect l="T15" t="T16" r="T17" b="T18"/>
                  <a:pathLst>
                    <a:path w="141" h="471">
                      <a:moveTo>
                        <a:pt x="0" y="110"/>
                      </a:moveTo>
                      <a:lnTo>
                        <a:pt x="140" y="0"/>
                      </a:lnTo>
                      <a:lnTo>
                        <a:pt x="140" y="330"/>
                      </a:lnTo>
                      <a:lnTo>
                        <a:pt x="0" y="470"/>
                      </a:lnTo>
                      <a:lnTo>
                        <a:pt x="0" y="110"/>
                      </a:lnTo>
                    </a:path>
                  </a:pathLst>
                </a:custGeom>
                <a:solidFill>
                  <a:srgbClr val="188AE7"/>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52" name="Freeform 105"/>
                <p:cNvSpPr>
                  <a:spLocks/>
                </p:cNvSpPr>
                <p:nvPr/>
              </p:nvSpPr>
              <p:spPr bwMode="auto">
                <a:xfrm>
                  <a:off x="1010" y="1431"/>
                  <a:ext cx="61" cy="386"/>
                </a:xfrm>
                <a:custGeom>
                  <a:avLst/>
                  <a:gdLst>
                    <a:gd name="T0" fmla="*/ 0 w 61"/>
                    <a:gd name="T1" fmla="*/ 0 h 386"/>
                    <a:gd name="T2" fmla="*/ 0 w 61"/>
                    <a:gd name="T3" fmla="*/ 338 h 386"/>
                    <a:gd name="T4" fmla="*/ 60 w 61"/>
                    <a:gd name="T5" fmla="*/ 385 h 386"/>
                    <a:gd name="T6" fmla="*/ 60 w 61"/>
                    <a:gd name="T7" fmla="*/ 36 h 386"/>
                    <a:gd name="T8" fmla="*/ 0 w 61"/>
                    <a:gd name="T9" fmla="*/ 0 h 386"/>
                    <a:gd name="T10" fmla="*/ 0 60000 65536"/>
                    <a:gd name="T11" fmla="*/ 0 60000 65536"/>
                    <a:gd name="T12" fmla="*/ 0 60000 65536"/>
                    <a:gd name="T13" fmla="*/ 0 60000 65536"/>
                    <a:gd name="T14" fmla="*/ 0 60000 65536"/>
                    <a:gd name="T15" fmla="*/ 0 w 61"/>
                    <a:gd name="T16" fmla="*/ 0 h 386"/>
                    <a:gd name="T17" fmla="*/ 61 w 61"/>
                    <a:gd name="T18" fmla="*/ 386 h 386"/>
                  </a:gdLst>
                  <a:ahLst/>
                  <a:cxnLst>
                    <a:cxn ang="T10">
                      <a:pos x="T0" y="T1"/>
                    </a:cxn>
                    <a:cxn ang="T11">
                      <a:pos x="T2" y="T3"/>
                    </a:cxn>
                    <a:cxn ang="T12">
                      <a:pos x="T4" y="T5"/>
                    </a:cxn>
                    <a:cxn ang="T13">
                      <a:pos x="T6" y="T7"/>
                    </a:cxn>
                    <a:cxn ang="T14">
                      <a:pos x="T8" y="T9"/>
                    </a:cxn>
                  </a:cxnLst>
                  <a:rect l="T15" t="T16" r="T17" b="T18"/>
                  <a:pathLst>
                    <a:path w="61" h="386">
                      <a:moveTo>
                        <a:pt x="0" y="0"/>
                      </a:moveTo>
                      <a:lnTo>
                        <a:pt x="0" y="338"/>
                      </a:lnTo>
                      <a:lnTo>
                        <a:pt x="60" y="385"/>
                      </a:lnTo>
                      <a:lnTo>
                        <a:pt x="60" y="36"/>
                      </a:lnTo>
                      <a:lnTo>
                        <a:pt x="0" y="0"/>
                      </a:lnTo>
                    </a:path>
                  </a:pathLst>
                </a:custGeom>
                <a:solidFill>
                  <a:srgbClr val="87C2F3"/>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53" name="Line 106"/>
                <p:cNvSpPr>
                  <a:spLocks noChangeShapeType="1"/>
                </p:cNvSpPr>
                <p:nvPr/>
              </p:nvSpPr>
              <p:spPr bwMode="auto">
                <a:xfrm>
                  <a:off x="1017" y="1479"/>
                  <a:ext cx="45" cy="2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54" name="Line 107"/>
                <p:cNvSpPr>
                  <a:spLocks noChangeShapeType="1"/>
                </p:cNvSpPr>
                <p:nvPr/>
              </p:nvSpPr>
              <p:spPr bwMode="auto">
                <a:xfrm>
                  <a:off x="1086" y="1750"/>
                  <a:ext cx="40" cy="3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55" name="Line 108"/>
                <p:cNvSpPr>
                  <a:spLocks noChangeShapeType="1"/>
                </p:cNvSpPr>
                <p:nvPr/>
              </p:nvSpPr>
              <p:spPr bwMode="auto">
                <a:xfrm>
                  <a:off x="1086" y="1778"/>
                  <a:ext cx="40" cy="3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56" name="Line 109"/>
                <p:cNvSpPr>
                  <a:spLocks noChangeShapeType="1"/>
                </p:cNvSpPr>
                <p:nvPr/>
              </p:nvSpPr>
              <p:spPr bwMode="auto">
                <a:xfrm>
                  <a:off x="1086" y="1804"/>
                  <a:ext cx="40" cy="3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57" name="Line 110"/>
                <p:cNvSpPr>
                  <a:spLocks noChangeShapeType="1"/>
                </p:cNvSpPr>
                <p:nvPr/>
              </p:nvSpPr>
              <p:spPr bwMode="auto">
                <a:xfrm>
                  <a:off x="957" y="1548"/>
                  <a:ext cx="179" cy="10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58" name="Freeform 111"/>
                <p:cNvSpPr>
                  <a:spLocks/>
                </p:cNvSpPr>
                <p:nvPr/>
              </p:nvSpPr>
              <p:spPr bwMode="auto">
                <a:xfrm>
                  <a:off x="957" y="1330"/>
                  <a:ext cx="321" cy="180"/>
                </a:xfrm>
                <a:custGeom>
                  <a:avLst/>
                  <a:gdLst>
                    <a:gd name="T0" fmla="*/ 179 w 321"/>
                    <a:gd name="T1" fmla="*/ 179 h 180"/>
                    <a:gd name="T2" fmla="*/ 0 w 321"/>
                    <a:gd name="T3" fmla="*/ 68 h 180"/>
                    <a:gd name="T4" fmla="*/ 160 w 321"/>
                    <a:gd name="T5" fmla="*/ 0 h 180"/>
                    <a:gd name="T6" fmla="*/ 320 w 321"/>
                    <a:gd name="T7" fmla="*/ 69 h 180"/>
                    <a:gd name="T8" fmla="*/ 179 w 321"/>
                    <a:gd name="T9" fmla="*/ 179 h 180"/>
                    <a:gd name="T10" fmla="*/ 0 60000 65536"/>
                    <a:gd name="T11" fmla="*/ 0 60000 65536"/>
                    <a:gd name="T12" fmla="*/ 0 60000 65536"/>
                    <a:gd name="T13" fmla="*/ 0 60000 65536"/>
                    <a:gd name="T14" fmla="*/ 0 60000 65536"/>
                    <a:gd name="T15" fmla="*/ 0 w 321"/>
                    <a:gd name="T16" fmla="*/ 0 h 180"/>
                    <a:gd name="T17" fmla="*/ 321 w 321"/>
                    <a:gd name="T18" fmla="*/ 180 h 180"/>
                  </a:gdLst>
                  <a:ahLst/>
                  <a:cxnLst>
                    <a:cxn ang="T10">
                      <a:pos x="T0" y="T1"/>
                    </a:cxn>
                    <a:cxn ang="T11">
                      <a:pos x="T2" y="T3"/>
                    </a:cxn>
                    <a:cxn ang="T12">
                      <a:pos x="T4" y="T5"/>
                    </a:cxn>
                    <a:cxn ang="T13">
                      <a:pos x="T6" y="T7"/>
                    </a:cxn>
                    <a:cxn ang="T14">
                      <a:pos x="T8" y="T9"/>
                    </a:cxn>
                  </a:cxnLst>
                  <a:rect l="T15" t="T16" r="T17" b="T18"/>
                  <a:pathLst>
                    <a:path w="321" h="180">
                      <a:moveTo>
                        <a:pt x="179" y="179"/>
                      </a:moveTo>
                      <a:lnTo>
                        <a:pt x="0" y="68"/>
                      </a:lnTo>
                      <a:lnTo>
                        <a:pt x="160" y="0"/>
                      </a:lnTo>
                      <a:lnTo>
                        <a:pt x="320" y="69"/>
                      </a:lnTo>
                      <a:lnTo>
                        <a:pt x="179" y="179"/>
                      </a:lnTo>
                    </a:path>
                  </a:pathLst>
                </a:custGeom>
                <a:solidFill>
                  <a:srgbClr val="B6DAF8"/>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sp>
              <p:nvSpPr>
                <p:cNvPr id="259" name="Line 112"/>
                <p:cNvSpPr>
                  <a:spLocks noChangeShapeType="1"/>
                </p:cNvSpPr>
                <p:nvPr/>
              </p:nvSpPr>
              <p:spPr bwMode="auto">
                <a:xfrm>
                  <a:off x="957" y="1607"/>
                  <a:ext cx="179" cy="11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60" name="Line 113"/>
                <p:cNvSpPr>
                  <a:spLocks noChangeShapeType="1"/>
                </p:cNvSpPr>
                <p:nvPr/>
              </p:nvSpPr>
              <p:spPr bwMode="auto">
                <a:xfrm>
                  <a:off x="1017" y="1507"/>
                  <a:ext cx="45" cy="26"/>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61" name="Line 114"/>
                <p:cNvSpPr>
                  <a:spLocks noChangeShapeType="1"/>
                </p:cNvSpPr>
                <p:nvPr/>
              </p:nvSpPr>
              <p:spPr bwMode="auto">
                <a:xfrm>
                  <a:off x="1017" y="1534"/>
                  <a:ext cx="45" cy="27"/>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sp>
          <p:nvSpPr>
            <p:cNvPr id="17" name="Rectangle 115"/>
            <p:cNvSpPr>
              <a:spLocks noChangeArrowheads="1"/>
            </p:cNvSpPr>
            <p:nvPr/>
          </p:nvSpPr>
          <p:spPr bwMode="auto">
            <a:xfrm>
              <a:off x="685801" y="3124200"/>
              <a:ext cx="1597214" cy="35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kumimoji="1" lang="en-US" altLang="en-US" sz="1050">
                  <a:latin typeface="+mn-lt"/>
                </a:rPr>
                <a:t>Legacy</a:t>
              </a:r>
              <a:r>
                <a:rPr kumimoji="1" lang="en-US" altLang="en-US" sz="1050">
                  <a:solidFill>
                    <a:srgbClr val="0000CC"/>
                  </a:solidFill>
                  <a:latin typeface="+mn-lt"/>
                </a:rPr>
                <a:t>  </a:t>
              </a:r>
              <a:r>
                <a:rPr kumimoji="1" lang="en-US" altLang="en-US" sz="1050">
                  <a:latin typeface="+mn-lt"/>
                </a:rPr>
                <a:t>Data</a:t>
              </a:r>
            </a:p>
          </p:txBody>
        </p:sp>
        <p:sp>
          <p:nvSpPr>
            <p:cNvPr id="18" name="Freeform 116"/>
            <p:cNvSpPr>
              <a:spLocks/>
            </p:cNvSpPr>
            <p:nvPr/>
          </p:nvSpPr>
          <p:spPr bwMode="auto">
            <a:xfrm>
              <a:off x="5429250" y="2638425"/>
              <a:ext cx="2668588" cy="2808288"/>
            </a:xfrm>
            <a:custGeom>
              <a:avLst/>
              <a:gdLst>
                <a:gd name="T0" fmla="*/ 2147483646 w 1681"/>
                <a:gd name="T1" fmla="*/ 0 h 1769"/>
                <a:gd name="T2" fmla="*/ 0 w 1681"/>
                <a:gd name="T3" fmla="*/ 0 h 1769"/>
                <a:gd name="T4" fmla="*/ 0 w 1681"/>
                <a:gd name="T5" fmla="*/ 2147483646 h 1769"/>
                <a:gd name="T6" fmla="*/ 2147483646 w 1681"/>
                <a:gd name="T7" fmla="*/ 2147483646 h 1769"/>
                <a:gd name="T8" fmla="*/ 0 60000 65536"/>
                <a:gd name="T9" fmla="*/ 0 60000 65536"/>
                <a:gd name="T10" fmla="*/ 0 60000 65536"/>
                <a:gd name="T11" fmla="*/ 0 60000 65536"/>
                <a:gd name="T12" fmla="*/ 0 w 1681"/>
                <a:gd name="T13" fmla="*/ 0 h 1769"/>
                <a:gd name="T14" fmla="*/ 1681 w 1681"/>
                <a:gd name="T15" fmla="*/ 1769 h 1769"/>
              </a:gdLst>
              <a:ahLst/>
              <a:cxnLst>
                <a:cxn ang="T8">
                  <a:pos x="T0" y="T1"/>
                </a:cxn>
                <a:cxn ang="T9">
                  <a:pos x="T2" y="T3"/>
                </a:cxn>
                <a:cxn ang="T10">
                  <a:pos x="T4" y="T5"/>
                </a:cxn>
                <a:cxn ang="T11">
                  <a:pos x="T6" y="T7"/>
                </a:cxn>
              </a:cxnLst>
              <a:rect l="T12" t="T13" r="T14" b="T15"/>
              <a:pathLst>
                <a:path w="1681" h="1769">
                  <a:moveTo>
                    <a:pt x="1663" y="0"/>
                  </a:moveTo>
                  <a:lnTo>
                    <a:pt x="0" y="0"/>
                  </a:lnTo>
                  <a:lnTo>
                    <a:pt x="0" y="1768"/>
                  </a:lnTo>
                  <a:lnTo>
                    <a:pt x="1680" y="1768"/>
                  </a:lnTo>
                </a:path>
              </a:pathLst>
            </a:custGeom>
            <a:noFill/>
            <a:ln w="12700" cap="rnd" cmpd="sng">
              <a:solidFill>
                <a:schemeClr val="tx1"/>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9" name="Oval 237"/>
            <p:cNvSpPr>
              <a:spLocks noChangeArrowheads="1"/>
            </p:cNvSpPr>
            <p:nvPr/>
          </p:nvSpPr>
          <p:spPr bwMode="auto">
            <a:xfrm>
              <a:off x="574675" y="5681663"/>
              <a:ext cx="1582738" cy="338137"/>
            </a:xfrm>
            <a:prstGeom prst="ellipse">
              <a:avLst/>
            </a:prstGeom>
            <a:gradFill rotWithShape="0">
              <a:gsLst>
                <a:gs pos="0">
                  <a:srgbClr val="CCCCCC"/>
                </a:gs>
                <a:gs pos="100000">
                  <a:srgbClr val="FFFFFF"/>
                </a:gs>
              </a:gsLst>
              <a:path path="shape">
                <a:fillToRect l="50000" t="50000" r="50000" b="5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grpSp>
          <p:nvGrpSpPr>
            <p:cNvPr id="20" name="Group 238"/>
            <p:cNvGrpSpPr>
              <a:grpSpLocks/>
            </p:cNvGrpSpPr>
            <p:nvPr/>
          </p:nvGrpSpPr>
          <p:grpSpPr bwMode="auto">
            <a:xfrm>
              <a:off x="728663" y="4800600"/>
              <a:ext cx="1371600" cy="1163638"/>
              <a:chOff x="363" y="2928"/>
              <a:chExt cx="864" cy="733"/>
            </a:xfrm>
          </p:grpSpPr>
          <p:grpSp>
            <p:nvGrpSpPr>
              <p:cNvPr id="76" name="Group 239"/>
              <p:cNvGrpSpPr>
                <a:grpSpLocks/>
              </p:cNvGrpSpPr>
              <p:nvPr/>
            </p:nvGrpSpPr>
            <p:grpSpPr bwMode="auto">
              <a:xfrm>
                <a:off x="363" y="3089"/>
                <a:ext cx="494" cy="308"/>
                <a:chOff x="363" y="3089"/>
                <a:chExt cx="494" cy="308"/>
              </a:xfrm>
            </p:grpSpPr>
            <p:sp>
              <p:nvSpPr>
                <p:cNvPr id="231" name="Rectangle 240"/>
                <p:cNvSpPr>
                  <a:spLocks noChangeArrowheads="1"/>
                </p:cNvSpPr>
                <p:nvPr/>
              </p:nvSpPr>
              <p:spPr bwMode="auto">
                <a:xfrm>
                  <a:off x="363" y="3091"/>
                  <a:ext cx="491" cy="302"/>
                </a:xfrm>
                <a:prstGeom prst="rect">
                  <a:avLst/>
                </a:prstGeom>
                <a:solidFill>
                  <a:srgbClr val="DADADA"/>
                </a:solidFill>
                <a:ln w="12700">
                  <a:solidFill>
                    <a:srgbClr val="A2C1FE"/>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sp>
              <p:nvSpPr>
                <p:cNvPr id="232" name="Freeform 241"/>
                <p:cNvSpPr>
                  <a:spLocks/>
                </p:cNvSpPr>
                <p:nvPr/>
              </p:nvSpPr>
              <p:spPr bwMode="auto">
                <a:xfrm>
                  <a:off x="380" y="3114"/>
                  <a:ext cx="466" cy="266"/>
                </a:xfrm>
                <a:custGeom>
                  <a:avLst/>
                  <a:gdLst>
                    <a:gd name="T0" fmla="*/ 16 w 466"/>
                    <a:gd name="T1" fmla="*/ 11 h 266"/>
                    <a:gd name="T2" fmla="*/ 5 w 466"/>
                    <a:gd name="T3" fmla="*/ 32 h 266"/>
                    <a:gd name="T4" fmla="*/ 0 w 466"/>
                    <a:gd name="T5" fmla="*/ 97 h 266"/>
                    <a:gd name="T6" fmla="*/ 16 w 466"/>
                    <a:gd name="T7" fmla="*/ 133 h 266"/>
                    <a:gd name="T8" fmla="*/ 60 w 466"/>
                    <a:gd name="T9" fmla="*/ 182 h 266"/>
                    <a:gd name="T10" fmla="*/ 110 w 466"/>
                    <a:gd name="T11" fmla="*/ 200 h 266"/>
                    <a:gd name="T12" fmla="*/ 141 w 466"/>
                    <a:gd name="T13" fmla="*/ 191 h 266"/>
                    <a:gd name="T14" fmla="*/ 172 w 466"/>
                    <a:gd name="T15" fmla="*/ 225 h 266"/>
                    <a:gd name="T16" fmla="*/ 201 w 466"/>
                    <a:gd name="T17" fmla="*/ 246 h 266"/>
                    <a:gd name="T18" fmla="*/ 222 w 466"/>
                    <a:gd name="T19" fmla="*/ 231 h 266"/>
                    <a:gd name="T20" fmla="*/ 269 w 466"/>
                    <a:gd name="T21" fmla="*/ 222 h 266"/>
                    <a:gd name="T22" fmla="*/ 288 w 466"/>
                    <a:gd name="T23" fmla="*/ 210 h 266"/>
                    <a:gd name="T24" fmla="*/ 315 w 466"/>
                    <a:gd name="T25" fmla="*/ 218 h 266"/>
                    <a:gd name="T26" fmla="*/ 333 w 466"/>
                    <a:gd name="T27" fmla="*/ 235 h 266"/>
                    <a:gd name="T28" fmla="*/ 345 w 466"/>
                    <a:gd name="T29" fmla="*/ 265 h 266"/>
                    <a:gd name="T30" fmla="*/ 361 w 466"/>
                    <a:gd name="T31" fmla="*/ 245 h 266"/>
                    <a:gd name="T32" fmla="*/ 347 w 466"/>
                    <a:gd name="T33" fmla="*/ 208 h 266"/>
                    <a:gd name="T34" fmla="*/ 361 w 466"/>
                    <a:gd name="T35" fmla="*/ 185 h 266"/>
                    <a:gd name="T36" fmla="*/ 387 w 466"/>
                    <a:gd name="T37" fmla="*/ 162 h 266"/>
                    <a:gd name="T38" fmla="*/ 394 w 466"/>
                    <a:gd name="T39" fmla="*/ 130 h 266"/>
                    <a:gd name="T40" fmla="*/ 396 w 466"/>
                    <a:gd name="T41" fmla="*/ 113 h 266"/>
                    <a:gd name="T42" fmla="*/ 406 w 466"/>
                    <a:gd name="T43" fmla="*/ 108 h 266"/>
                    <a:gd name="T44" fmla="*/ 406 w 466"/>
                    <a:gd name="T45" fmla="*/ 97 h 266"/>
                    <a:gd name="T46" fmla="*/ 426 w 466"/>
                    <a:gd name="T47" fmla="*/ 89 h 266"/>
                    <a:gd name="T48" fmla="*/ 435 w 466"/>
                    <a:gd name="T49" fmla="*/ 86 h 266"/>
                    <a:gd name="T50" fmla="*/ 433 w 466"/>
                    <a:gd name="T51" fmla="*/ 75 h 266"/>
                    <a:gd name="T52" fmla="*/ 435 w 466"/>
                    <a:gd name="T53" fmla="*/ 67 h 266"/>
                    <a:gd name="T54" fmla="*/ 465 w 466"/>
                    <a:gd name="T55" fmla="*/ 42 h 266"/>
                    <a:gd name="T56" fmla="*/ 457 w 466"/>
                    <a:gd name="T57" fmla="*/ 20 h 266"/>
                    <a:gd name="T58" fmla="*/ 442 w 466"/>
                    <a:gd name="T59" fmla="*/ 24 h 266"/>
                    <a:gd name="T60" fmla="*/ 412 w 466"/>
                    <a:gd name="T61" fmla="*/ 46 h 266"/>
                    <a:gd name="T62" fmla="*/ 392 w 466"/>
                    <a:gd name="T63" fmla="*/ 63 h 266"/>
                    <a:gd name="T64" fmla="*/ 368 w 466"/>
                    <a:gd name="T65" fmla="*/ 67 h 266"/>
                    <a:gd name="T66" fmla="*/ 356 w 466"/>
                    <a:gd name="T67" fmla="*/ 82 h 266"/>
                    <a:gd name="T68" fmla="*/ 333 w 466"/>
                    <a:gd name="T69" fmla="*/ 85 h 266"/>
                    <a:gd name="T70" fmla="*/ 339 w 466"/>
                    <a:gd name="T71" fmla="*/ 60 h 266"/>
                    <a:gd name="T72" fmla="*/ 328 w 466"/>
                    <a:gd name="T73" fmla="*/ 60 h 266"/>
                    <a:gd name="T74" fmla="*/ 321 w 466"/>
                    <a:gd name="T75" fmla="*/ 40 h 266"/>
                    <a:gd name="T76" fmla="*/ 308 w 466"/>
                    <a:gd name="T77" fmla="*/ 72 h 266"/>
                    <a:gd name="T78" fmla="*/ 298 w 466"/>
                    <a:gd name="T79" fmla="*/ 85 h 266"/>
                    <a:gd name="T80" fmla="*/ 303 w 466"/>
                    <a:gd name="T81" fmla="*/ 48 h 266"/>
                    <a:gd name="T82" fmla="*/ 303 w 466"/>
                    <a:gd name="T83" fmla="*/ 37 h 266"/>
                    <a:gd name="T84" fmla="*/ 303 w 466"/>
                    <a:gd name="T85" fmla="*/ 32 h 266"/>
                    <a:gd name="T86" fmla="*/ 291 w 466"/>
                    <a:gd name="T87" fmla="*/ 18 h 266"/>
                    <a:gd name="T88" fmla="*/ 259 w 466"/>
                    <a:gd name="T89" fmla="*/ 28 h 266"/>
                    <a:gd name="T90" fmla="*/ 236 w 466"/>
                    <a:gd name="T91" fmla="*/ 0 h 2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6"/>
                    <a:gd name="T139" fmla="*/ 0 h 266"/>
                    <a:gd name="T140" fmla="*/ 466 w 466"/>
                    <a:gd name="T141" fmla="*/ 266 h 26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6" h="266">
                      <a:moveTo>
                        <a:pt x="236" y="0"/>
                      </a:moveTo>
                      <a:lnTo>
                        <a:pt x="13" y="0"/>
                      </a:lnTo>
                      <a:lnTo>
                        <a:pt x="16" y="11"/>
                      </a:lnTo>
                      <a:lnTo>
                        <a:pt x="14" y="14"/>
                      </a:lnTo>
                      <a:lnTo>
                        <a:pt x="0" y="11"/>
                      </a:lnTo>
                      <a:lnTo>
                        <a:pt x="5" y="32"/>
                      </a:lnTo>
                      <a:lnTo>
                        <a:pt x="1" y="71"/>
                      </a:lnTo>
                      <a:lnTo>
                        <a:pt x="2" y="82"/>
                      </a:lnTo>
                      <a:lnTo>
                        <a:pt x="0" y="97"/>
                      </a:lnTo>
                      <a:lnTo>
                        <a:pt x="7" y="107"/>
                      </a:lnTo>
                      <a:lnTo>
                        <a:pt x="5" y="114"/>
                      </a:lnTo>
                      <a:lnTo>
                        <a:pt x="16" y="133"/>
                      </a:lnTo>
                      <a:lnTo>
                        <a:pt x="34" y="166"/>
                      </a:lnTo>
                      <a:lnTo>
                        <a:pt x="41" y="166"/>
                      </a:lnTo>
                      <a:lnTo>
                        <a:pt x="60" y="182"/>
                      </a:lnTo>
                      <a:lnTo>
                        <a:pt x="83" y="182"/>
                      </a:lnTo>
                      <a:lnTo>
                        <a:pt x="83" y="186"/>
                      </a:lnTo>
                      <a:lnTo>
                        <a:pt x="110" y="200"/>
                      </a:lnTo>
                      <a:lnTo>
                        <a:pt x="132" y="200"/>
                      </a:lnTo>
                      <a:lnTo>
                        <a:pt x="132" y="191"/>
                      </a:lnTo>
                      <a:lnTo>
                        <a:pt x="141" y="191"/>
                      </a:lnTo>
                      <a:lnTo>
                        <a:pt x="157" y="206"/>
                      </a:lnTo>
                      <a:lnTo>
                        <a:pt x="164" y="220"/>
                      </a:lnTo>
                      <a:lnTo>
                        <a:pt x="172" y="225"/>
                      </a:lnTo>
                      <a:lnTo>
                        <a:pt x="177" y="219"/>
                      </a:lnTo>
                      <a:lnTo>
                        <a:pt x="188" y="222"/>
                      </a:lnTo>
                      <a:lnTo>
                        <a:pt x="201" y="246"/>
                      </a:lnTo>
                      <a:lnTo>
                        <a:pt x="220" y="253"/>
                      </a:lnTo>
                      <a:lnTo>
                        <a:pt x="218" y="241"/>
                      </a:lnTo>
                      <a:lnTo>
                        <a:pt x="222" y="231"/>
                      </a:lnTo>
                      <a:lnTo>
                        <a:pt x="237" y="217"/>
                      </a:lnTo>
                      <a:lnTo>
                        <a:pt x="248" y="214"/>
                      </a:lnTo>
                      <a:lnTo>
                        <a:pt x="269" y="222"/>
                      </a:lnTo>
                      <a:lnTo>
                        <a:pt x="286" y="223"/>
                      </a:lnTo>
                      <a:lnTo>
                        <a:pt x="282" y="214"/>
                      </a:lnTo>
                      <a:lnTo>
                        <a:pt x="288" y="210"/>
                      </a:lnTo>
                      <a:lnTo>
                        <a:pt x="296" y="209"/>
                      </a:lnTo>
                      <a:lnTo>
                        <a:pt x="306" y="209"/>
                      </a:lnTo>
                      <a:lnTo>
                        <a:pt x="315" y="218"/>
                      </a:lnTo>
                      <a:lnTo>
                        <a:pt x="327" y="215"/>
                      </a:lnTo>
                      <a:lnTo>
                        <a:pt x="335" y="225"/>
                      </a:lnTo>
                      <a:lnTo>
                        <a:pt x="333" y="235"/>
                      </a:lnTo>
                      <a:lnTo>
                        <a:pt x="340" y="246"/>
                      </a:lnTo>
                      <a:lnTo>
                        <a:pt x="343" y="246"/>
                      </a:lnTo>
                      <a:lnTo>
                        <a:pt x="345" y="265"/>
                      </a:lnTo>
                      <a:lnTo>
                        <a:pt x="353" y="264"/>
                      </a:lnTo>
                      <a:lnTo>
                        <a:pt x="362" y="255"/>
                      </a:lnTo>
                      <a:lnTo>
                        <a:pt x="361" y="245"/>
                      </a:lnTo>
                      <a:lnTo>
                        <a:pt x="358" y="233"/>
                      </a:lnTo>
                      <a:lnTo>
                        <a:pt x="349" y="216"/>
                      </a:lnTo>
                      <a:lnTo>
                        <a:pt x="347" y="208"/>
                      </a:lnTo>
                      <a:lnTo>
                        <a:pt x="352" y="194"/>
                      </a:lnTo>
                      <a:lnTo>
                        <a:pt x="353" y="188"/>
                      </a:lnTo>
                      <a:lnTo>
                        <a:pt x="361" y="185"/>
                      </a:lnTo>
                      <a:lnTo>
                        <a:pt x="371" y="173"/>
                      </a:lnTo>
                      <a:lnTo>
                        <a:pt x="376" y="165"/>
                      </a:lnTo>
                      <a:lnTo>
                        <a:pt x="387" y="162"/>
                      </a:lnTo>
                      <a:lnTo>
                        <a:pt x="395" y="152"/>
                      </a:lnTo>
                      <a:lnTo>
                        <a:pt x="389" y="135"/>
                      </a:lnTo>
                      <a:lnTo>
                        <a:pt x="394" y="130"/>
                      </a:lnTo>
                      <a:lnTo>
                        <a:pt x="398" y="121"/>
                      </a:lnTo>
                      <a:lnTo>
                        <a:pt x="400" y="118"/>
                      </a:lnTo>
                      <a:lnTo>
                        <a:pt x="396" y="113"/>
                      </a:lnTo>
                      <a:lnTo>
                        <a:pt x="396" y="108"/>
                      </a:lnTo>
                      <a:lnTo>
                        <a:pt x="401" y="116"/>
                      </a:lnTo>
                      <a:lnTo>
                        <a:pt x="406" y="108"/>
                      </a:lnTo>
                      <a:lnTo>
                        <a:pt x="407" y="100"/>
                      </a:lnTo>
                      <a:lnTo>
                        <a:pt x="405" y="98"/>
                      </a:lnTo>
                      <a:lnTo>
                        <a:pt x="406" y="97"/>
                      </a:lnTo>
                      <a:lnTo>
                        <a:pt x="407" y="94"/>
                      </a:lnTo>
                      <a:lnTo>
                        <a:pt x="411" y="91"/>
                      </a:lnTo>
                      <a:lnTo>
                        <a:pt x="426" y="89"/>
                      </a:lnTo>
                      <a:lnTo>
                        <a:pt x="429" y="88"/>
                      </a:lnTo>
                      <a:lnTo>
                        <a:pt x="431" y="82"/>
                      </a:lnTo>
                      <a:lnTo>
                        <a:pt x="435" y="86"/>
                      </a:lnTo>
                      <a:lnTo>
                        <a:pt x="442" y="84"/>
                      </a:lnTo>
                      <a:lnTo>
                        <a:pt x="437" y="83"/>
                      </a:lnTo>
                      <a:lnTo>
                        <a:pt x="433" y="75"/>
                      </a:lnTo>
                      <a:lnTo>
                        <a:pt x="436" y="73"/>
                      </a:lnTo>
                      <a:lnTo>
                        <a:pt x="434" y="69"/>
                      </a:lnTo>
                      <a:lnTo>
                        <a:pt x="435" y="67"/>
                      </a:lnTo>
                      <a:lnTo>
                        <a:pt x="442" y="63"/>
                      </a:lnTo>
                      <a:lnTo>
                        <a:pt x="443" y="59"/>
                      </a:lnTo>
                      <a:lnTo>
                        <a:pt x="465" y="42"/>
                      </a:lnTo>
                      <a:lnTo>
                        <a:pt x="464" y="36"/>
                      </a:lnTo>
                      <a:lnTo>
                        <a:pt x="460" y="34"/>
                      </a:lnTo>
                      <a:lnTo>
                        <a:pt x="457" y="20"/>
                      </a:lnTo>
                      <a:lnTo>
                        <a:pt x="451" y="22"/>
                      </a:lnTo>
                      <a:lnTo>
                        <a:pt x="448" y="20"/>
                      </a:lnTo>
                      <a:lnTo>
                        <a:pt x="442" y="24"/>
                      </a:lnTo>
                      <a:lnTo>
                        <a:pt x="435" y="38"/>
                      </a:lnTo>
                      <a:lnTo>
                        <a:pt x="430" y="46"/>
                      </a:lnTo>
                      <a:lnTo>
                        <a:pt x="412" y="46"/>
                      </a:lnTo>
                      <a:lnTo>
                        <a:pt x="401" y="47"/>
                      </a:lnTo>
                      <a:lnTo>
                        <a:pt x="390" y="58"/>
                      </a:lnTo>
                      <a:lnTo>
                        <a:pt x="392" y="63"/>
                      </a:lnTo>
                      <a:lnTo>
                        <a:pt x="385" y="68"/>
                      </a:lnTo>
                      <a:lnTo>
                        <a:pt x="377" y="67"/>
                      </a:lnTo>
                      <a:lnTo>
                        <a:pt x="368" y="67"/>
                      </a:lnTo>
                      <a:lnTo>
                        <a:pt x="366" y="73"/>
                      </a:lnTo>
                      <a:lnTo>
                        <a:pt x="362" y="77"/>
                      </a:lnTo>
                      <a:lnTo>
                        <a:pt x="356" y="82"/>
                      </a:lnTo>
                      <a:lnTo>
                        <a:pt x="346" y="87"/>
                      </a:lnTo>
                      <a:lnTo>
                        <a:pt x="338" y="87"/>
                      </a:lnTo>
                      <a:lnTo>
                        <a:pt x="333" y="85"/>
                      </a:lnTo>
                      <a:lnTo>
                        <a:pt x="333" y="82"/>
                      </a:lnTo>
                      <a:lnTo>
                        <a:pt x="340" y="72"/>
                      </a:lnTo>
                      <a:lnTo>
                        <a:pt x="339" y="60"/>
                      </a:lnTo>
                      <a:lnTo>
                        <a:pt x="337" y="59"/>
                      </a:lnTo>
                      <a:lnTo>
                        <a:pt x="330" y="63"/>
                      </a:lnTo>
                      <a:lnTo>
                        <a:pt x="328" y="60"/>
                      </a:lnTo>
                      <a:lnTo>
                        <a:pt x="335" y="53"/>
                      </a:lnTo>
                      <a:lnTo>
                        <a:pt x="332" y="44"/>
                      </a:lnTo>
                      <a:lnTo>
                        <a:pt x="321" y="40"/>
                      </a:lnTo>
                      <a:lnTo>
                        <a:pt x="310" y="52"/>
                      </a:lnTo>
                      <a:lnTo>
                        <a:pt x="306" y="63"/>
                      </a:lnTo>
                      <a:lnTo>
                        <a:pt x="308" y="72"/>
                      </a:lnTo>
                      <a:lnTo>
                        <a:pt x="304" y="84"/>
                      </a:lnTo>
                      <a:lnTo>
                        <a:pt x="300" y="86"/>
                      </a:lnTo>
                      <a:lnTo>
                        <a:pt x="298" y="85"/>
                      </a:lnTo>
                      <a:lnTo>
                        <a:pt x="295" y="76"/>
                      </a:lnTo>
                      <a:lnTo>
                        <a:pt x="297" y="57"/>
                      </a:lnTo>
                      <a:lnTo>
                        <a:pt x="303" y="48"/>
                      </a:lnTo>
                      <a:lnTo>
                        <a:pt x="301" y="46"/>
                      </a:lnTo>
                      <a:lnTo>
                        <a:pt x="294" y="47"/>
                      </a:lnTo>
                      <a:lnTo>
                        <a:pt x="303" y="37"/>
                      </a:lnTo>
                      <a:lnTo>
                        <a:pt x="328" y="33"/>
                      </a:lnTo>
                      <a:lnTo>
                        <a:pt x="318" y="26"/>
                      </a:lnTo>
                      <a:lnTo>
                        <a:pt x="303" y="32"/>
                      </a:lnTo>
                      <a:lnTo>
                        <a:pt x="290" y="27"/>
                      </a:lnTo>
                      <a:lnTo>
                        <a:pt x="297" y="20"/>
                      </a:lnTo>
                      <a:lnTo>
                        <a:pt x="291" y="18"/>
                      </a:lnTo>
                      <a:lnTo>
                        <a:pt x="273" y="28"/>
                      </a:lnTo>
                      <a:lnTo>
                        <a:pt x="270" y="24"/>
                      </a:lnTo>
                      <a:lnTo>
                        <a:pt x="259" y="28"/>
                      </a:lnTo>
                      <a:lnTo>
                        <a:pt x="261" y="20"/>
                      </a:lnTo>
                      <a:lnTo>
                        <a:pt x="273" y="8"/>
                      </a:lnTo>
                      <a:lnTo>
                        <a:pt x="236" y="0"/>
                      </a:lnTo>
                    </a:path>
                  </a:pathLst>
                </a:custGeom>
                <a:solidFill>
                  <a:schemeClr val="accent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grpSp>
              <p:nvGrpSpPr>
                <p:cNvPr id="233" name="Group 242"/>
                <p:cNvGrpSpPr>
                  <a:grpSpLocks/>
                </p:cNvGrpSpPr>
                <p:nvPr/>
              </p:nvGrpSpPr>
              <p:grpSpPr bwMode="auto">
                <a:xfrm>
                  <a:off x="363" y="3089"/>
                  <a:ext cx="494" cy="308"/>
                  <a:chOff x="363" y="3089"/>
                  <a:chExt cx="494" cy="308"/>
                </a:xfrm>
              </p:grpSpPr>
              <p:grpSp>
                <p:nvGrpSpPr>
                  <p:cNvPr id="234" name="Group 243"/>
                  <p:cNvGrpSpPr>
                    <a:grpSpLocks/>
                  </p:cNvGrpSpPr>
                  <p:nvPr/>
                </p:nvGrpSpPr>
                <p:grpSpPr bwMode="auto">
                  <a:xfrm>
                    <a:off x="417" y="3089"/>
                    <a:ext cx="383" cy="308"/>
                    <a:chOff x="417" y="3089"/>
                    <a:chExt cx="383" cy="308"/>
                  </a:xfrm>
                </p:grpSpPr>
                <p:sp>
                  <p:nvSpPr>
                    <p:cNvPr id="240" name="Line 244"/>
                    <p:cNvSpPr>
                      <a:spLocks noChangeShapeType="1"/>
                    </p:cNvSpPr>
                    <p:nvPr/>
                  </p:nvSpPr>
                  <p:spPr bwMode="auto">
                    <a:xfrm>
                      <a:off x="417" y="3089"/>
                      <a:ext cx="0" cy="308"/>
                    </a:xfrm>
                    <a:prstGeom prst="line">
                      <a:avLst/>
                    </a:prstGeom>
                    <a:noFill/>
                    <a:ln w="12700">
                      <a:solidFill>
                        <a:srgbClr val="A2C1FE"/>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41" name="Line 245"/>
                    <p:cNvSpPr>
                      <a:spLocks noChangeShapeType="1"/>
                    </p:cNvSpPr>
                    <p:nvPr/>
                  </p:nvSpPr>
                  <p:spPr bwMode="auto">
                    <a:xfrm>
                      <a:off x="482" y="3089"/>
                      <a:ext cx="0" cy="308"/>
                    </a:xfrm>
                    <a:prstGeom prst="line">
                      <a:avLst/>
                    </a:prstGeom>
                    <a:noFill/>
                    <a:ln w="12700">
                      <a:solidFill>
                        <a:srgbClr val="A2C1FE"/>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42" name="Line 246"/>
                    <p:cNvSpPr>
                      <a:spLocks noChangeShapeType="1"/>
                    </p:cNvSpPr>
                    <p:nvPr/>
                  </p:nvSpPr>
                  <p:spPr bwMode="auto">
                    <a:xfrm>
                      <a:off x="545" y="3089"/>
                      <a:ext cx="0" cy="308"/>
                    </a:xfrm>
                    <a:prstGeom prst="line">
                      <a:avLst/>
                    </a:prstGeom>
                    <a:noFill/>
                    <a:ln w="12700">
                      <a:solidFill>
                        <a:srgbClr val="A2C1FE"/>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43" name="Line 247"/>
                    <p:cNvSpPr>
                      <a:spLocks noChangeShapeType="1"/>
                    </p:cNvSpPr>
                    <p:nvPr/>
                  </p:nvSpPr>
                  <p:spPr bwMode="auto">
                    <a:xfrm>
                      <a:off x="610" y="3089"/>
                      <a:ext cx="0" cy="308"/>
                    </a:xfrm>
                    <a:prstGeom prst="line">
                      <a:avLst/>
                    </a:prstGeom>
                    <a:noFill/>
                    <a:ln w="12700">
                      <a:solidFill>
                        <a:srgbClr val="A2C1FE"/>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44" name="Line 248"/>
                    <p:cNvSpPr>
                      <a:spLocks noChangeShapeType="1"/>
                    </p:cNvSpPr>
                    <p:nvPr/>
                  </p:nvSpPr>
                  <p:spPr bwMode="auto">
                    <a:xfrm>
                      <a:off x="673" y="3089"/>
                      <a:ext cx="0" cy="308"/>
                    </a:xfrm>
                    <a:prstGeom prst="line">
                      <a:avLst/>
                    </a:prstGeom>
                    <a:noFill/>
                    <a:ln w="12700">
                      <a:solidFill>
                        <a:srgbClr val="A2C1FE"/>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45" name="Line 249"/>
                    <p:cNvSpPr>
                      <a:spLocks noChangeShapeType="1"/>
                    </p:cNvSpPr>
                    <p:nvPr/>
                  </p:nvSpPr>
                  <p:spPr bwMode="auto">
                    <a:xfrm>
                      <a:off x="738" y="3089"/>
                      <a:ext cx="0" cy="308"/>
                    </a:xfrm>
                    <a:prstGeom prst="line">
                      <a:avLst/>
                    </a:prstGeom>
                    <a:noFill/>
                    <a:ln w="12700">
                      <a:solidFill>
                        <a:srgbClr val="A2C1FE"/>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46" name="Line 250"/>
                    <p:cNvSpPr>
                      <a:spLocks noChangeShapeType="1"/>
                    </p:cNvSpPr>
                    <p:nvPr/>
                  </p:nvSpPr>
                  <p:spPr bwMode="auto">
                    <a:xfrm>
                      <a:off x="800" y="3089"/>
                      <a:ext cx="0" cy="308"/>
                    </a:xfrm>
                    <a:prstGeom prst="line">
                      <a:avLst/>
                    </a:prstGeom>
                    <a:noFill/>
                    <a:ln w="12700">
                      <a:solidFill>
                        <a:srgbClr val="A2C1FE"/>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235" name="Group 251"/>
                  <p:cNvGrpSpPr>
                    <a:grpSpLocks/>
                  </p:cNvGrpSpPr>
                  <p:nvPr/>
                </p:nvGrpSpPr>
                <p:grpSpPr bwMode="auto">
                  <a:xfrm>
                    <a:off x="363" y="3147"/>
                    <a:ext cx="494" cy="192"/>
                    <a:chOff x="363" y="3147"/>
                    <a:chExt cx="494" cy="192"/>
                  </a:xfrm>
                </p:grpSpPr>
                <p:sp>
                  <p:nvSpPr>
                    <p:cNvPr id="236" name="Line 252"/>
                    <p:cNvSpPr>
                      <a:spLocks noChangeShapeType="1"/>
                    </p:cNvSpPr>
                    <p:nvPr/>
                  </p:nvSpPr>
                  <p:spPr bwMode="auto">
                    <a:xfrm>
                      <a:off x="363" y="3339"/>
                      <a:ext cx="494" cy="0"/>
                    </a:xfrm>
                    <a:prstGeom prst="line">
                      <a:avLst/>
                    </a:prstGeom>
                    <a:noFill/>
                    <a:ln w="12700">
                      <a:solidFill>
                        <a:srgbClr val="A2C1FE"/>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37" name="Line 253"/>
                    <p:cNvSpPr>
                      <a:spLocks noChangeShapeType="1"/>
                    </p:cNvSpPr>
                    <p:nvPr/>
                  </p:nvSpPr>
                  <p:spPr bwMode="auto">
                    <a:xfrm>
                      <a:off x="363" y="3274"/>
                      <a:ext cx="494" cy="0"/>
                    </a:xfrm>
                    <a:prstGeom prst="line">
                      <a:avLst/>
                    </a:prstGeom>
                    <a:noFill/>
                    <a:ln w="12700">
                      <a:solidFill>
                        <a:srgbClr val="A2C1FE"/>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38" name="Line 254"/>
                    <p:cNvSpPr>
                      <a:spLocks noChangeShapeType="1"/>
                    </p:cNvSpPr>
                    <p:nvPr/>
                  </p:nvSpPr>
                  <p:spPr bwMode="auto">
                    <a:xfrm>
                      <a:off x="363" y="3211"/>
                      <a:ext cx="494" cy="0"/>
                    </a:xfrm>
                    <a:prstGeom prst="line">
                      <a:avLst/>
                    </a:prstGeom>
                    <a:noFill/>
                    <a:ln w="12700">
                      <a:solidFill>
                        <a:srgbClr val="A2C1FE"/>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39" name="Line 255"/>
                    <p:cNvSpPr>
                      <a:spLocks noChangeShapeType="1"/>
                    </p:cNvSpPr>
                    <p:nvPr/>
                  </p:nvSpPr>
                  <p:spPr bwMode="auto">
                    <a:xfrm>
                      <a:off x="363" y="3147"/>
                      <a:ext cx="494" cy="0"/>
                    </a:xfrm>
                    <a:prstGeom prst="line">
                      <a:avLst/>
                    </a:prstGeom>
                    <a:noFill/>
                    <a:ln w="12700">
                      <a:solidFill>
                        <a:srgbClr val="A2C1FE"/>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grpSp>
            <p:nvGrpSpPr>
              <p:cNvPr id="77" name="Group 256"/>
              <p:cNvGrpSpPr>
                <a:grpSpLocks/>
              </p:cNvGrpSpPr>
              <p:nvPr/>
            </p:nvGrpSpPr>
            <p:grpSpPr bwMode="auto">
              <a:xfrm>
                <a:off x="739" y="2928"/>
                <a:ext cx="304" cy="457"/>
                <a:chOff x="739" y="2928"/>
                <a:chExt cx="304" cy="457"/>
              </a:xfrm>
            </p:grpSpPr>
            <p:sp>
              <p:nvSpPr>
                <p:cNvPr id="114" name="Rectangle 257"/>
                <p:cNvSpPr>
                  <a:spLocks noChangeArrowheads="1"/>
                </p:cNvSpPr>
                <p:nvPr/>
              </p:nvSpPr>
              <p:spPr bwMode="auto">
                <a:xfrm>
                  <a:off x="740" y="2937"/>
                  <a:ext cx="303" cy="448"/>
                </a:xfrm>
                <a:prstGeom prst="rect">
                  <a:avLst/>
                </a:prstGeom>
                <a:solidFill>
                  <a:srgbClr val="CECECE"/>
                </a:solidFill>
                <a:ln w="12700">
                  <a:solidFill>
                    <a:schemeClr val="tx2"/>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sp>
              <p:nvSpPr>
                <p:cNvPr id="115" name="Rectangle 258"/>
                <p:cNvSpPr>
                  <a:spLocks noChangeArrowheads="1"/>
                </p:cNvSpPr>
                <p:nvPr/>
              </p:nvSpPr>
              <p:spPr bwMode="auto">
                <a:xfrm>
                  <a:off x="739" y="2928"/>
                  <a:ext cx="289"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1672" tIns="20241" rIns="41672" bIns="20241">
                  <a:spAutoFit/>
                </a:bodyPr>
                <a:lstStyle>
                  <a:lvl1pPr defTabSz="330200">
                    <a:defRPr sz="2800" b="1">
                      <a:solidFill>
                        <a:schemeClr val="tx1"/>
                      </a:solidFill>
                      <a:latin typeface="Arial" panose="020B0604020202020204" pitchFamily="34" charset="0"/>
                    </a:defRPr>
                  </a:lvl1pPr>
                  <a:lvl2pPr marL="742950" indent="-285750" defTabSz="330200">
                    <a:defRPr sz="2800" b="1">
                      <a:solidFill>
                        <a:schemeClr val="tx1"/>
                      </a:solidFill>
                      <a:latin typeface="Arial" panose="020B0604020202020204" pitchFamily="34" charset="0"/>
                    </a:defRPr>
                  </a:lvl2pPr>
                  <a:lvl3pPr marL="1143000" indent="-228600" defTabSz="330200">
                    <a:defRPr sz="2800" b="1">
                      <a:solidFill>
                        <a:schemeClr val="tx1"/>
                      </a:solidFill>
                      <a:latin typeface="Arial" panose="020B0604020202020204" pitchFamily="34" charset="0"/>
                    </a:defRPr>
                  </a:lvl3pPr>
                  <a:lvl4pPr marL="1600200" indent="-228600" defTabSz="330200">
                    <a:defRPr sz="2800" b="1">
                      <a:solidFill>
                        <a:schemeClr val="tx1"/>
                      </a:solidFill>
                      <a:latin typeface="Arial" panose="020B0604020202020204" pitchFamily="34" charset="0"/>
                    </a:defRPr>
                  </a:lvl4pPr>
                  <a:lvl5pPr marL="2057400" indent="-228600" defTabSz="330200">
                    <a:defRPr sz="2800" b="1">
                      <a:solidFill>
                        <a:schemeClr val="tx1"/>
                      </a:solidFill>
                      <a:latin typeface="Arial" panose="020B0604020202020204" pitchFamily="34" charset="0"/>
                    </a:defRPr>
                  </a:lvl5pPr>
                  <a:lvl6pPr marL="2514600" indent="-228600" defTabSz="330200" eaLnBrk="0" fontAlgn="base" hangingPunct="0">
                    <a:spcBef>
                      <a:spcPct val="0"/>
                    </a:spcBef>
                    <a:spcAft>
                      <a:spcPct val="0"/>
                    </a:spcAft>
                    <a:defRPr sz="2800" b="1">
                      <a:solidFill>
                        <a:schemeClr val="tx1"/>
                      </a:solidFill>
                      <a:latin typeface="Arial" panose="020B0604020202020204" pitchFamily="34" charset="0"/>
                    </a:defRPr>
                  </a:lvl6pPr>
                  <a:lvl7pPr marL="2971800" indent="-228600" defTabSz="330200" eaLnBrk="0" fontAlgn="base" hangingPunct="0">
                    <a:spcBef>
                      <a:spcPct val="0"/>
                    </a:spcBef>
                    <a:spcAft>
                      <a:spcPct val="0"/>
                    </a:spcAft>
                    <a:defRPr sz="2800" b="1">
                      <a:solidFill>
                        <a:schemeClr val="tx1"/>
                      </a:solidFill>
                      <a:latin typeface="Arial" panose="020B0604020202020204" pitchFamily="34" charset="0"/>
                    </a:defRPr>
                  </a:lvl7pPr>
                  <a:lvl8pPr marL="3429000" indent="-228600" defTabSz="330200" eaLnBrk="0" fontAlgn="base" hangingPunct="0">
                    <a:spcBef>
                      <a:spcPct val="0"/>
                    </a:spcBef>
                    <a:spcAft>
                      <a:spcPct val="0"/>
                    </a:spcAft>
                    <a:defRPr sz="2800" b="1">
                      <a:solidFill>
                        <a:schemeClr val="tx1"/>
                      </a:solidFill>
                      <a:latin typeface="Arial" panose="020B0604020202020204" pitchFamily="34" charset="0"/>
                    </a:defRPr>
                  </a:lvl8pPr>
                  <a:lvl9pPr marL="3886200" indent="-228600" defTabSz="330200" eaLnBrk="0" fontAlgn="base" hangingPunct="0">
                    <a:spcBef>
                      <a:spcPct val="0"/>
                    </a:spcBef>
                    <a:spcAft>
                      <a:spcPct val="0"/>
                    </a:spcAft>
                    <a:defRPr sz="2800" b="1">
                      <a:solidFill>
                        <a:schemeClr val="tx1"/>
                      </a:solidFill>
                      <a:latin typeface="Arial" panose="020B0604020202020204" pitchFamily="34" charset="0"/>
                    </a:defRPr>
                  </a:lvl9pPr>
                </a:lstStyle>
                <a:p>
                  <a:pPr algn="ctr"/>
                  <a:r>
                    <a:rPr kumimoji="1" lang="en-US" altLang="en-US" sz="525" b="0">
                      <a:solidFill>
                        <a:schemeClr val="tx2"/>
                      </a:solidFill>
                      <a:latin typeface="+mn-lt"/>
                    </a:rPr>
                    <a:t>The Post</a:t>
                  </a:r>
                </a:p>
              </p:txBody>
            </p:sp>
            <p:grpSp>
              <p:nvGrpSpPr>
                <p:cNvPr id="116" name="Group 259"/>
                <p:cNvGrpSpPr>
                  <a:grpSpLocks/>
                </p:cNvGrpSpPr>
                <p:nvPr/>
              </p:nvGrpSpPr>
              <p:grpSpPr bwMode="auto">
                <a:xfrm>
                  <a:off x="759" y="3024"/>
                  <a:ext cx="54" cy="334"/>
                  <a:chOff x="759" y="3024"/>
                  <a:chExt cx="54" cy="334"/>
                </a:xfrm>
              </p:grpSpPr>
              <p:grpSp>
                <p:nvGrpSpPr>
                  <p:cNvPr id="204" name="Group 260"/>
                  <p:cNvGrpSpPr>
                    <a:grpSpLocks/>
                  </p:cNvGrpSpPr>
                  <p:nvPr/>
                </p:nvGrpSpPr>
                <p:grpSpPr bwMode="auto">
                  <a:xfrm>
                    <a:off x="759" y="3024"/>
                    <a:ext cx="54" cy="101"/>
                    <a:chOff x="759" y="3024"/>
                    <a:chExt cx="54" cy="101"/>
                  </a:xfrm>
                </p:grpSpPr>
                <p:sp>
                  <p:nvSpPr>
                    <p:cNvPr id="223" name="Line 261"/>
                    <p:cNvSpPr>
                      <a:spLocks noChangeShapeType="1"/>
                    </p:cNvSpPr>
                    <p:nvPr/>
                  </p:nvSpPr>
                  <p:spPr bwMode="auto">
                    <a:xfrm>
                      <a:off x="759" y="3024"/>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24" name="Line 262"/>
                    <p:cNvSpPr>
                      <a:spLocks noChangeShapeType="1"/>
                    </p:cNvSpPr>
                    <p:nvPr/>
                  </p:nvSpPr>
                  <p:spPr bwMode="auto">
                    <a:xfrm>
                      <a:off x="759" y="3039"/>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25" name="Line 263"/>
                    <p:cNvSpPr>
                      <a:spLocks noChangeShapeType="1"/>
                    </p:cNvSpPr>
                    <p:nvPr/>
                  </p:nvSpPr>
                  <p:spPr bwMode="auto">
                    <a:xfrm>
                      <a:off x="759" y="305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26" name="Line 264"/>
                    <p:cNvSpPr>
                      <a:spLocks noChangeShapeType="1"/>
                    </p:cNvSpPr>
                    <p:nvPr/>
                  </p:nvSpPr>
                  <p:spPr bwMode="auto">
                    <a:xfrm>
                      <a:off x="759" y="306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27" name="Line 265"/>
                    <p:cNvSpPr>
                      <a:spLocks noChangeShapeType="1"/>
                    </p:cNvSpPr>
                    <p:nvPr/>
                  </p:nvSpPr>
                  <p:spPr bwMode="auto">
                    <a:xfrm>
                      <a:off x="759" y="3082"/>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28" name="Line 266"/>
                    <p:cNvSpPr>
                      <a:spLocks noChangeShapeType="1"/>
                    </p:cNvSpPr>
                    <p:nvPr/>
                  </p:nvSpPr>
                  <p:spPr bwMode="auto">
                    <a:xfrm>
                      <a:off x="759" y="3096"/>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29" name="Line 267"/>
                    <p:cNvSpPr>
                      <a:spLocks noChangeShapeType="1"/>
                    </p:cNvSpPr>
                    <p:nvPr/>
                  </p:nvSpPr>
                  <p:spPr bwMode="auto">
                    <a:xfrm>
                      <a:off x="759" y="311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30" name="Line 268"/>
                    <p:cNvSpPr>
                      <a:spLocks noChangeShapeType="1"/>
                    </p:cNvSpPr>
                    <p:nvPr/>
                  </p:nvSpPr>
                  <p:spPr bwMode="auto">
                    <a:xfrm>
                      <a:off x="759" y="312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205" name="Group 269"/>
                  <p:cNvGrpSpPr>
                    <a:grpSpLocks/>
                  </p:cNvGrpSpPr>
                  <p:nvPr/>
                </p:nvGrpSpPr>
                <p:grpSpPr bwMode="auto">
                  <a:xfrm>
                    <a:off x="759" y="3141"/>
                    <a:ext cx="54" cy="101"/>
                    <a:chOff x="759" y="3141"/>
                    <a:chExt cx="54" cy="101"/>
                  </a:xfrm>
                </p:grpSpPr>
                <p:sp>
                  <p:nvSpPr>
                    <p:cNvPr id="215" name="Line 270"/>
                    <p:cNvSpPr>
                      <a:spLocks noChangeShapeType="1"/>
                    </p:cNvSpPr>
                    <p:nvPr/>
                  </p:nvSpPr>
                  <p:spPr bwMode="auto">
                    <a:xfrm>
                      <a:off x="759" y="314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16" name="Line 271"/>
                    <p:cNvSpPr>
                      <a:spLocks noChangeShapeType="1"/>
                    </p:cNvSpPr>
                    <p:nvPr/>
                  </p:nvSpPr>
                  <p:spPr bwMode="auto">
                    <a:xfrm>
                      <a:off x="759" y="315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17" name="Line 272"/>
                    <p:cNvSpPr>
                      <a:spLocks noChangeShapeType="1"/>
                    </p:cNvSpPr>
                    <p:nvPr/>
                  </p:nvSpPr>
                  <p:spPr bwMode="auto">
                    <a:xfrm>
                      <a:off x="759" y="3170"/>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18" name="Line 273"/>
                    <p:cNvSpPr>
                      <a:spLocks noChangeShapeType="1"/>
                    </p:cNvSpPr>
                    <p:nvPr/>
                  </p:nvSpPr>
                  <p:spPr bwMode="auto">
                    <a:xfrm>
                      <a:off x="759" y="3184"/>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19" name="Line 274"/>
                    <p:cNvSpPr>
                      <a:spLocks noChangeShapeType="1"/>
                    </p:cNvSpPr>
                    <p:nvPr/>
                  </p:nvSpPr>
                  <p:spPr bwMode="auto">
                    <a:xfrm>
                      <a:off x="759" y="319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20" name="Line 275"/>
                    <p:cNvSpPr>
                      <a:spLocks noChangeShapeType="1"/>
                    </p:cNvSpPr>
                    <p:nvPr/>
                  </p:nvSpPr>
                  <p:spPr bwMode="auto">
                    <a:xfrm>
                      <a:off x="759" y="321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21" name="Line 276"/>
                    <p:cNvSpPr>
                      <a:spLocks noChangeShapeType="1"/>
                    </p:cNvSpPr>
                    <p:nvPr/>
                  </p:nvSpPr>
                  <p:spPr bwMode="auto">
                    <a:xfrm>
                      <a:off x="759" y="3227"/>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22" name="Line 277"/>
                    <p:cNvSpPr>
                      <a:spLocks noChangeShapeType="1"/>
                    </p:cNvSpPr>
                    <p:nvPr/>
                  </p:nvSpPr>
                  <p:spPr bwMode="auto">
                    <a:xfrm>
                      <a:off x="759" y="3242"/>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206" name="Group 278"/>
                  <p:cNvGrpSpPr>
                    <a:grpSpLocks/>
                  </p:cNvGrpSpPr>
                  <p:nvPr/>
                </p:nvGrpSpPr>
                <p:grpSpPr bwMode="auto">
                  <a:xfrm>
                    <a:off x="759" y="3257"/>
                    <a:ext cx="54" cy="101"/>
                    <a:chOff x="759" y="3257"/>
                    <a:chExt cx="54" cy="101"/>
                  </a:xfrm>
                </p:grpSpPr>
                <p:sp>
                  <p:nvSpPr>
                    <p:cNvPr id="207" name="Line 279"/>
                    <p:cNvSpPr>
                      <a:spLocks noChangeShapeType="1"/>
                    </p:cNvSpPr>
                    <p:nvPr/>
                  </p:nvSpPr>
                  <p:spPr bwMode="auto">
                    <a:xfrm>
                      <a:off x="759" y="3257"/>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08" name="Line 280"/>
                    <p:cNvSpPr>
                      <a:spLocks noChangeShapeType="1"/>
                    </p:cNvSpPr>
                    <p:nvPr/>
                  </p:nvSpPr>
                  <p:spPr bwMode="auto">
                    <a:xfrm>
                      <a:off x="759" y="327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09" name="Line 281"/>
                    <p:cNvSpPr>
                      <a:spLocks noChangeShapeType="1"/>
                    </p:cNvSpPr>
                    <p:nvPr/>
                  </p:nvSpPr>
                  <p:spPr bwMode="auto">
                    <a:xfrm>
                      <a:off x="759" y="3286"/>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10" name="Line 282"/>
                    <p:cNvSpPr>
                      <a:spLocks noChangeShapeType="1"/>
                    </p:cNvSpPr>
                    <p:nvPr/>
                  </p:nvSpPr>
                  <p:spPr bwMode="auto">
                    <a:xfrm>
                      <a:off x="759" y="3300"/>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11" name="Line 283"/>
                    <p:cNvSpPr>
                      <a:spLocks noChangeShapeType="1"/>
                    </p:cNvSpPr>
                    <p:nvPr/>
                  </p:nvSpPr>
                  <p:spPr bwMode="auto">
                    <a:xfrm>
                      <a:off x="759" y="331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12" name="Line 284"/>
                    <p:cNvSpPr>
                      <a:spLocks noChangeShapeType="1"/>
                    </p:cNvSpPr>
                    <p:nvPr/>
                  </p:nvSpPr>
                  <p:spPr bwMode="auto">
                    <a:xfrm>
                      <a:off x="759" y="3329"/>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13" name="Line 285"/>
                    <p:cNvSpPr>
                      <a:spLocks noChangeShapeType="1"/>
                    </p:cNvSpPr>
                    <p:nvPr/>
                  </p:nvSpPr>
                  <p:spPr bwMode="auto">
                    <a:xfrm>
                      <a:off x="759" y="334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14" name="Line 286"/>
                    <p:cNvSpPr>
                      <a:spLocks noChangeShapeType="1"/>
                    </p:cNvSpPr>
                    <p:nvPr/>
                  </p:nvSpPr>
                  <p:spPr bwMode="auto">
                    <a:xfrm>
                      <a:off x="759" y="335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nvGrpSpPr>
                <p:cNvPr id="117" name="Group 287"/>
                <p:cNvGrpSpPr>
                  <a:grpSpLocks/>
                </p:cNvGrpSpPr>
                <p:nvPr/>
              </p:nvGrpSpPr>
              <p:grpSpPr bwMode="auto">
                <a:xfrm>
                  <a:off x="829" y="3024"/>
                  <a:ext cx="54" cy="334"/>
                  <a:chOff x="829" y="3024"/>
                  <a:chExt cx="54" cy="334"/>
                </a:xfrm>
              </p:grpSpPr>
              <p:grpSp>
                <p:nvGrpSpPr>
                  <p:cNvPr id="177" name="Group 288"/>
                  <p:cNvGrpSpPr>
                    <a:grpSpLocks/>
                  </p:cNvGrpSpPr>
                  <p:nvPr/>
                </p:nvGrpSpPr>
                <p:grpSpPr bwMode="auto">
                  <a:xfrm>
                    <a:off x="829" y="3024"/>
                    <a:ext cx="54" cy="101"/>
                    <a:chOff x="829" y="3024"/>
                    <a:chExt cx="54" cy="101"/>
                  </a:xfrm>
                </p:grpSpPr>
                <p:sp>
                  <p:nvSpPr>
                    <p:cNvPr id="196" name="Line 289"/>
                    <p:cNvSpPr>
                      <a:spLocks noChangeShapeType="1"/>
                    </p:cNvSpPr>
                    <p:nvPr/>
                  </p:nvSpPr>
                  <p:spPr bwMode="auto">
                    <a:xfrm>
                      <a:off x="829" y="3024"/>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97" name="Line 290"/>
                    <p:cNvSpPr>
                      <a:spLocks noChangeShapeType="1"/>
                    </p:cNvSpPr>
                    <p:nvPr/>
                  </p:nvSpPr>
                  <p:spPr bwMode="auto">
                    <a:xfrm>
                      <a:off x="829" y="3039"/>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98" name="Line 291"/>
                    <p:cNvSpPr>
                      <a:spLocks noChangeShapeType="1"/>
                    </p:cNvSpPr>
                    <p:nvPr/>
                  </p:nvSpPr>
                  <p:spPr bwMode="auto">
                    <a:xfrm>
                      <a:off x="829" y="305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99" name="Line 292"/>
                    <p:cNvSpPr>
                      <a:spLocks noChangeShapeType="1"/>
                    </p:cNvSpPr>
                    <p:nvPr/>
                  </p:nvSpPr>
                  <p:spPr bwMode="auto">
                    <a:xfrm>
                      <a:off x="829" y="306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00" name="Line 293"/>
                    <p:cNvSpPr>
                      <a:spLocks noChangeShapeType="1"/>
                    </p:cNvSpPr>
                    <p:nvPr/>
                  </p:nvSpPr>
                  <p:spPr bwMode="auto">
                    <a:xfrm>
                      <a:off x="829" y="3082"/>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01" name="Line 294"/>
                    <p:cNvSpPr>
                      <a:spLocks noChangeShapeType="1"/>
                    </p:cNvSpPr>
                    <p:nvPr/>
                  </p:nvSpPr>
                  <p:spPr bwMode="auto">
                    <a:xfrm>
                      <a:off x="829" y="3096"/>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02" name="Line 295"/>
                    <p:cNvSpPr>
                      <a:spLocks noChangeShapeType="1"/>
                    </p:cNvSpPr>
                    <p:nvPr/>
                  </p:nvSpPr>
                  <p:spPr bwMode="auto">
                    <a:xfrm>
                      <a:off x="829" y="311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203" name="Line 296"/>
                    <p:cNvSpPr>
                      <a:spLocks noChangeShapeType="1"/>
                    </p:cNvSpPr>
                    <p:nvPr/>
                  </p:nvSpPr>
                  <p:spPr bwMode="auto">
                    <a:xfrm>
                      <a:off x="829" y="312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78" name="Group 297"/>
                  <p:cNvGrpSpPr>
                    <a:grpSpLocks/>
                  </p:cNvGrpSpPr>
                  <p:nvPr/>
                </p:nvGrpSpPr>
                <p:grpSpPr bwMode="auto">
                  <a:xfrm>
                    <a:off x="829" y="3141"/>
                    <a:ext cx="54" cy="101"/>
                    <a:chOff x="829" y="3141"/>
                    <a:chExt cx="54" cy="101"/>
                  </a:xfrm>
                </p:grpSpPr>
                <p:sp>
                  <p:nvSpPr>
                    <p:cNvPr id="188" name="Line 298"/>
                    <p:cNvSpPr>
                      <a:spLocks noChangeShapeType="1"/>
                    </p:cNvSpPr>
                    <p:nvPr/>
                  </p:nvSpPr>
                  <p:spPr bwMode="auto">
                    <a:xfrm>
                      <a:off x="829" y="314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89" name="Line 299"/>
                    <p:cNvSpPr>
                      <a:spLocks noChangeShapeType="1"/>
                    </p:cNvSpPr>
                    <p:nvPr/>
                  </p:nvSpPr>
                  <p:spPr bwMode="auto">
                    <a:xfrm>
                      <a:off x="829" y="315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90" name="Line 300"/>
                    <p:cNvSpPr>
                      <a:spLocks noChangeShapeType="1"/>
                    </p:cNvSpPr>
                    <p:nvPr/>
                  </p:nvSpPr>
                  <p:spPr bwMode="auto">
                    <a:xfrm>
                      <a:off x="829" y="3170"/>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91" name="Line 301"/>
                    <p:cNvSpPr>
                      <a:spLocks noChangeShapeType="1"/>
                    </p:cNvSpPr>
                    <p:nvPr/>
                  </p:nvSpPr>
                  <p:spPr bwMode="auto">
                    <a:xfrm>
                      <a:off x="829" y="3184"/>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92" name="Line 302"/>
                    <p:cNvSpPr>
                      <a:spLocks noChangeShapeType="1"/>
                    </p:cNvSpPr>
                    <p:nvPr/>
                  </p:nvSpPr>
                  <p:spPr bwMode="auto">
                    <a:xfrm>
                      <a:off x="829" y="319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93" name="Line 303"/>
                    <p:cNvSpPr>
                      <a:spLocks noChangeShapeType="1"/>
                    </p:cNvSpPr>
                    <p:nvPr/>
                  </p:nvSpPr>
                  <p:spPr bwMode="auto">
                    <a:xfrm>
                      <a:off x="829" y="321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94" name="Line 304"/>
                    <p:cNvSpPr>
                      <a:spLocks noChangeShapeType="1"/>
                    </p:cNvSpPr>
                    <p:nvPr/>
                  </p:nvSpPr>
                  <p:spPr bwMode="auto">
                    <a:xfrm>
                      <a:off x="829" y="3227"/>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95" name="Line 305"/>
                    <p:cNvSpPr>
                      <a:spLocks noChangeShapeType="1"/>
                    </p:cNvSpPr>
                    <p:nvPr/>
                  </p:nvSpPr>
                  <p:spPr bwMode="auto">
                    <a:xfrm>
                      <a:off x="829" y="3242"/>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79" name="Group 306"/>
                  <p:cNvGrpSpPr>
                    <a:grpSpLocks/>
                  </p:cNvGrpSpPr>
                  <p:nvPr/>
                </p:nvGrpSpPr>
                <p:grpSpPr bwMode="auto">
                  <a:xfrm>
                    <a:off x="829" y="3257"/>
                    <a:ext cx="54" cy="101"/>
                    <a:chOff x="829" y="3257"/>
                    <a:chExt cx="54" cy="101"/>
                  </a:xfrm>
                </p:grpSpPr>
                <p:sp>
                  <p:nvSpPr>
                    <p:cNvPr id="180" name="Line 307"/>
                    <p:cNvSpPr>
                      <a:spLocks noChangeShapeType="1"/>
                    </p:cNvSpPr>
                    <p:nvPr/>
                  </p:nvSpPr>
                  <p:spPr bwMode="auto">
                    <a:xfrm>
                      <a:off x="829" y="3257"/>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81" name="Line 308"/>
                    <p:cNvSpPr>
                      <a:spLocks noChangeShapeType="1"/>
                    </p:cNvSpPr>
                    <p:nvPr/>
                  </p:nvSpPr>
                  <p:spPr bwMode="auto">
                    <a:xfrm>
                      <a:off x="829" y="327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82" name="Line 309"/>
                    <p:cNvSpPr>
                      <a:spLocks noChangeShapeType="1"/>
                    </p:cNvSpPr>
                    <p:nvPr/>
                  </p:nvSpPr>
                  <p:spPr bwMode="auto">
                    <a:xfrm>
                      <a:off x="829" y="3286"/>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83" name="Line 310"/>
                    <p:cNvSpPr>
                      <a:spLocks noChangeShapeType="1"/>
                    </p:cNvSpPr>
                    <p:nvPr/>
                  </p:nvSpPr>
                  <p:spPr bwMode="auto">
                    <a:xfrm>
                      <a:off x="829" y="3300"/>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84" name="Line 311"/>
                    <p:cNvSpPr>
                      <a:spLocks noChangeShapeType="1"/>
                    </p:cNvSpPr>
                    <p:nvPr/>
                  </p:nvSpPr>
                  <p:spPr bwMode="auto">
                    <a:xfrm>
                      <a:off x="829" y="331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85" name="Line 312"/>
                    <p:cNvSpPr>
                      <a:spLocks noChangeShapeType="1"/>
                    </p:cNvSpPr>
                    <p:nvPr/>
                  </p:nvSpPr>
                  <p:spPr bwMode="auto">
                    <a:xfrm>
                      <a:off x="829" y="3329"/>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86" name="Line 313"/>
                    <p:cNvSpPr>
                      <a:spLocks noChangeShapeType="1"/>
                    </p:cNvSpPr>
                    <p:nvPr/>
                  </p:nvSpPr>
                  <p:spPr bwMode="auto">
                    <a:xfrm>
                      <a:off x="829" y="334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87" name="Line 314"/>
                    <p:cNvSpPr>
                      <a:spLocks noChangeShapeType="1"/>
                    </p:cNvSpPr>
                    <p:nvPr/>
                  </p:nvSpPr>
                  <p:spPr bwMode="auto">
                    <a:xfrm>
                      <a:off x="829" y="335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nvGrpSpPr>
                <p:cNvPr id="118" name="Group 315"/>
                <p:cNvGrpSpPr>
                  <a:grpSpLocks/>
                </p:cNvGrpSpPr>
                <p:nvPr/>
              </p:nvGrpSpPr>
              <p:grpSpPr bwMode="auto">
                <a:xfrm>
                  <a:off x="898" y="3024"/>
                  <a:ext cx="54" cy="334"/>
                  <a:chOff x="898" y="3024"/>
                  <a:chExt cx="54" cy="334"/>
                </a:xfrm>
              </p:grpSpPr>
              <p:grpSp>
                <p:nvGrpSpPr>
                  <p:cNvPr id="150" name="Group 316"/>
                  <p:cNvGrpSpPr>
                    <a:grpSpLocks/>
                  </p:cNvGrpSpPr>
                  <p:nvPr/>
                </p:nvGrpSpPr>
                <p:grpSpPr bwMode="auto">
                  <a:xfrm>
                    <a:off x="898" y="3024"/>
                    <a:ext cx="54" cy="101"/>
                    <a:chOff x="898" y="3024"/>
                    <a:chExt cx="54" cy="101"/>
                  </a:xfrm>
                </p:grpSpPr>
                <p:sp>
                  <p:nvSpPr>
                    <p:cNvPr id="169" name="Line 317"/>
                    <p:cNvSpPr>
                      <a:spLocks noChangeShapeType="1"/>
                    </p:cNvSpPr>
                    <p:nvPr/>
                  </p:nvSpPr>
                  <p:spPr bwMode="auto">
                    <a:xfrm>
                      <a:off x="898" y="3024"/>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70" name="Line 318"/>
                    <p:cNvSpPr>
                      <a:spLocks noChangeShapeType="1"/>
                    </p:cNvSpPr>
                    <p:nvPr/>
                  </p:nvSpPr>
                  <p:spPr bwMode="auto">
                    <a:xfrm>
                      <a:off x="898" y="3039"/>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71" name="Line 319"/>
                    <p:cNvSpPr>
                      <a:spLocks noChangeShapeType="1"/>
                    </p:cNvSpPr>
                    <p:nvPr/>
                  </p:nvSpPr>
                  <p:spPr bwMode="auto">
                    <a:xfrm>
                      <a:off x="898" y="305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72" name="Line 320"/>
                    <p:cNvSpPr>
                      <a:spLocks noChangeShapeType="1"/>
                    </p:cNvSpPr>
                    <p:nvPr/>
                  </p:nvSpPr>
                  <p:spPr bwMode="auto">
                    <a:xfrm>
                      <a:off x="898" y="306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73" name="Line 321"/>
                    <p:cNvSpPr>
                      <a:spLocks noChangeShapeType="1"/>
                    </p:cNvSpPr>
                    <p:nvPr/>
                  </p:nvSpPr>
                  <p:spPr bwMode="auto">
                    <a:xfrm>
                      <a:off x="898" y="3082"/>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74" name="Line 322"/>
                    <p:cNvSpPr>
                      <a:spLocks noChangeShapeType="1"/>
                    </p:cNvSpPr>
                    <p:nvPr/>
                  </p:nvSpPr>
                  <p:spPr bwMode="auto">
                    <a:xfrm>
                      <a:off x="898" y="3096"/>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75" name="Line 323"/>
                    <p:cNvSpPr>
                      <a:spLocks noChangeShapeType="1"/>
                    </p:cNvSpPr>
                    <p:nvPr/>
                  </p:nvSpPr>
                  <p:spPr bwMode="auto">
                    <a:xfrm>
                      <a:off x="898" y="311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76" name="Line 324"/>
                    <p:cNvSpPr>
                      <a:spLocks noChangeShapeType="1"/>
                    </p:cNvSpPr>
                    <p:nvPr/>
                  </p:nvSpPr>
                  <p:spPr bwMode="auto">
                    <a:xfrm>
                      <a:off x="898" y="312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51" name="Group 325"/>
                  <p:cNvGrpSpPr>
                    <a:grpSpLocks/>
                  </p:cNvGrpSpPr>
                  <p:nvPr/>
                </p:nvGrpSpPr>
                <p:grpSpPr bwMode="auto">
                  <a:xfrm>
                    <a:off x="898" y="3141"/>
                    <a:ext cx="54" cy="101"/>
                    <a:chOff x="898" y="3141"/>
                    <a:chExt cx="54" cy="101"/>
                  </a:xfrm>
                </p:grpSpPr>
                <p:sp>
                  <p:nvSpPr>
                    <p:cNvPr id="161" name="Line 326"/>
                    <p:cNvSpPr>
                      <a:spLocks noChangeShapeType="1"/>
                    </p:cNvSpPr>
                    <p:nvPr/>
                  </p:nvSpPr>
                  <p:spPr bwMode="auto">
                    <a:xfrm>
                      <a:off x="898" y="314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62" name="Line 327"/>
                    <p:cNvSpPr>
                      <a:spLocks noChangeShapeType="1"/>
                    </p:cNvSpPr>
                    <p:nvPr/>
                  </p:nvSpPr>
                  <p:spPr bwMode="auto">
                    <a:xfrm>
                      <a:off x="898" y="315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63" name="Line 328"/>
                    <p:cNvSpPr>
                      <a:spLocks noChangeShapeType="1"/>
                    </p:cNvSpPr>
                    <p:nvPr/>
                  </p:nvSpPr>
                  <p:spPr bwMode="auto">
                    <a:xfrm>
                      <a:off x="898" y="3170"/>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64" name="Line 329"/>
                    <p:cNvSpPr>
                      <a:spLocks noChangeShapeType="1"/>
                    </p:cNvSpPr>
                    <p:nvPr/>
                  </p:nvSpPr>
                  <p:spPr bwMode="auto">
                    <a:xfrm>
                      <a:off x="898" y="3184"/>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65" name="Line 330"/>
                    <p:cNvSpPr>
                      <a:spLocks noChangeShapeType="1"/>
                    </p:cNvSpPr>
                    <p:nvPr/>
                  </p:nvSpPr>
                  <p:spPr bwMode="auto">
                    <a:xfrm>
                      <a:off x="898" y="319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66" name="Line 331"/>
                    <p:cNvSpPr>
                      <a:spLocks noChangeShapeType="1"/>
                    </p:cNvSpPr>
                    <p:nvPr/>
                  </p:nvSpPr>
                  <p:spPr bwMode="auto">
                    <a:xfrm>
                      <a:off x="898" y="321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67" name="Line 332"/>
                    <p:cNvSpPr>
                      <a:spLocks noChangeShapeType="1"/>
                    </p:cNvSpPr>
                    <p:nvPr/>
                  </p:nvSpPr>
                  <p:spPr bwMode="auto">
                    <a:xfrm>
                      <a:off x="898" y="3227"/>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68" name="Line 333"/>
                    <p:cNvSpPr>
                      <a:spLocks noChangeShapeType="1"/>
                    </p:cNvSpPr>
                    <p:nvPr/>
                  </p:nvSpPr>
                  <p:spPr bwMode="auto">
                    <a:xfrm>
                      <a:off x="898" y="3242"/>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52" name="Group 334"/>
                  <p:cNvGrpSpPr>
                    <a:grpSpLocks/>
                  </p:cNvGrpSpPr>
                  <p:nvPr/>
                </p:nvGrpSpPr>
                <p:grpSpPr bwMode="auto">
                  <a:xfrm>
                    <a:off x="898" y="3257"/>
                    <a:ext cx="54" cy="101"/>
                    <a:chOff x="898" y="3257"/>
                    <a:chExt cx="54" cy="101"/>
                  </a:xfrm>
                </p:grpSpPr>
                <p:sp>
                  <p:nvSpPr>
                    <p:cNvPr id="153" name="Line 335"/>
                    <p:cNvSpPr>
                      <a:spLocks noChangeShapeType="1"/>
                    </p:cNvSpPr>
                    <p:nvPr/>
                  </p:nvSpPr>
                  <p:spPr bwMode="auto">
                    <a:xfrm>
                      <a:off x="898" y="3257"/>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54" name="Line 336"/>
                    <p:cNvSpPr>
                      <a:spLocks noChangeShapeType="1"/>
                    </p:cNvSpPr>
                    <p:nvPr/>
                  </p:nvSpPr>
                  <p:spPr bwMode="auto">
                    <a:xfrm>
                      <a:off x="898" y="327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55" name="Line 337"/>
                    <p:cNvSpPr>
                      <a:spLocks noChangeShapeType="1"/>
                    </p:cNvSpPr>
                    <p:nvPr/>
                  </p:nvSpPr>
                  <p:spPr bwMode="auto">
                    <a:xfrm>
                      <a:off x="898" y="3286"/>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56" name="Line 338"/>
                    <p:cNvSpPr>
                      <a:spLocks noChangeShapeType="1"/>
                    </p:cNvSpPr>
                    <p:nvPr/>
                  </p:nvSpPr>
                  <p:spPr bwMode="auto">
                    <a:xfrm>
                      <a:off x="898" y="3300"/>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57" name="Line 339"/>
                    <p:cNvSpPr>
                      <a:spLocks noChangeShapeType="1"/>
                    </p:cNvSpPr>
                    <p:nvPr/>
                  </p:nvSpPr>
                  <p:spPr bwMode="auto">
                    <a:xfrm>
                      <a:off x="898" y="331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58" name="Line 340"/>
                    <p:cNvSpPr>
                      <a:spLocks noChangeShapeType="1"/>
                    </p:cNvSpPr>
                    <p:nvPr/>
                  </p:nvSpPr>
                  <p:spPr bwMode="auto">
                    <a:xfrm>
                      <a:off x="898" y="3329"/>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59" name="Line 341"/>
                    <p:cNvSpPr>
                      <a:spLocks noChangeShapeType="1"/>
                    </p:cNvSpPr>
                    <p:nvPr/>
                  </p:nvSpPr>
                  <p:spPr bwMode="auto">
                    <a:xfrm>
                      <a:off x="898" y="334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60" name="Line 342"/>
                    <p:cNvSpPr>
                      <a:spLocks noChangeShapeType="1"/>
                    </p:cNvSpPr>
                    <p:nvPr/>
                  </p:nvSpPr>
                  <p:spPr bwMode="auto">
                    <a:xfrm>
                      <a:off x="898" y="335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nvGrpSpPr>
                <p:cNvPr id="119" name="Group 343"/>
                <p:cNvGrpSpPr>
                  <a:grpSpLocks/>
                </p:cNvGrpSpPr>
                <p:nvPr/>
              </p:nvGrpSpPr>
              <p:grpSpPr bwMode="auto">
                <a:xfrm>
                  <a:off x="968" y="3024"/>
                  <a:ext cx="54" cy="334"/>
                  <a:chOff x="968" y="3024"/>
                  <a:chExt cx="54" cy="334"/>
                </a:xfrm>
              </p:grpSpPr>
              <p:grpSp>
                <p:nvGrpSpPr>
                  <p:cNvPr id="123" name="Group 344"/>
                  <p:cNvGrpSpPr>
                    <a:grpSpLocks/>
                  </p:cNvGrpSpPr>
                  <p:nvPr/>
                </p:nvGrpSpPr>
                <p:grpSpPr bwMode="auto">
                  <a:xfrm>
                    <a:off x="968" y="3024"/>
                    <a:ext cx="54" cy="101"/>
                    <a:chOff x="968" y="3024"/>
                    <a:chExt cx="54" cy="101"/>
                  </a:xfrm>
                </p:grpSpPr>
                <p:sp>
                  <p:nvSpPr>
                    <p:cNvPr id="142" name="Line 345"/>
                    <p:cNvSpPr>
                      <a:spLocks noChangeShapeType="1"/>
                    </p:cNvSpPr>
                    <p:nvPr/>
                  </p:nvSpPr>
                  <p:spPr bwMode="auto">
                    <a:xfrm>
                      <a:off x="968" y="3024"/>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3" name="Line 346"/>
                    <p:cNvSpPr>
                      <a:spLocks noChangeShapeType="1"/>
                    </p:cNvSpPr>
                    <p:nvPr/>
                  </p:nvSpPr>
                  <p:spPr bwMode="auto">
                    <a:xfrm>
                      <a:off x="968" y="3039"/>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4" name="Line 347"/>
                    <p:cNvSpPr>
                      <a:spLocks noChangeShapeType="1"/>
                    </p:cNvSpPr>
                    <p:nvPr/>
                  </p:nvSpPr>
                  <p:spPr bwMode="auto">
                    <a:xfrm>
                      <a:off x="968" y="305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5" name="Line 348"/>
                    <p:cNvSpPr>
                      <a:spLocks noChangeShapeType="1"/>
                    </p:cNvSpPr>
                    <p:nvPr/>
                  </p:nvSpPr>
                  <p:spPr bwMode="auto">
                    <a:xfrm>
                      <a:off x="968" y="306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6" name="Line 349"/>
                    <p:cNvSpPr>
                      <a:spLocks noChangeShapeType="1"/>
                    </p:cNvSpPr>
                    <p:nvPr/>
                  </p:nvSpPr>
                  <p:spPr bwMode="auto">
                    <a:xfrm>
                      <a:off x="968" y="3082"/>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7" name="Line 350"/>
                    <p:cNvSpPr>
                      <a:spLocks noChangeShapeType="1"/>
                    </p:cNvSpPr>
                    <p:nvPr/>
                  </p:nvSpPr>
                  <p:spPr bwMode="auto">
                    <a:xfrm>
                      <a:off x="968" y="3096"/>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8" name="Line 351"/>
                    <p:cNvSpPr>
                      <a:spLocks noChangeShapeType="1"/>
                    </p:cNvSpPr>
                    <p:nvPr/>
                  </p:nvSpPr>
                  <p:spPr bwMode="auto">
                    <a:xfrm>
                      <a:off x="968" y="311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9" name="Line 352"/>
                    <p:cNvSpPr>
                      <a:spLocks noChangeShapeType="1"/>
                    </p:cNvSpPr>
                    <p:nvPr/>
                  </p:nvSpPr>
                  <p:spPr bwMode="auto">
                    <a:xfrm>
                      <a:off x="968" y="312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24" name="Group 353"/>
                  <p:cNvGrpSpPr>
                    <a:grpSpLocks/>
                  </p:cNvGrpSpPr>
                  <p:nvPr/>
                </p:nvGrpSpPr>
                <p:grpSpPr bwMode="auto">
                  <a:xfrm>
                    <a:off x="968" y="3141"/>
                    <a:ext cx="54" cy="101"/>
                    <a:chOff x="968" y="3141"/>
                    <a:chExt cx="54" cy="101"/>
                  </a:xfrm>
                </p:grpSpPr>
                <p:sp>
                  <p:nvSpPr>
                    <p:cNvPr id="134" name="Line 354"/>
                    <p:cNvSpPr>
                      <a:spLocks noChangeShapeType="1"/>
                    </p:cNvSpPr>
                    <p:nvPr/>
                  </p:nvSpPr>
                  <p:spPr bwMode="auto">
                    <a:xfrm>
                      <a:off x="968" y="314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35" name="Line 355"/>
                    <p:cNvSpPr>
                      <a:spLocks noChangeShapeType="1"/>
                    </p:cNvSpPr>
                    <p:nvPr/>
                  </p:nvSpPr>
                  <p:spPr bwMode="auto">
                    <a:xfrm>
                      <a:off x="968" y="315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36" name="Line 356"/>
                    <p:cNvSpPr>
                      <a:spLocks noChangeShapeType="1"/>
                    </p:cNvSpPr>
                    <p:nvPr/>
                  </p:nvSpPr>
                  <p:spPr bwMode="auto">
                    <a:xfrm>
                      <a:off x="968" y="3170"/>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37" name="Line 357"/>
                    <p:cNvSpPr>
                      <a:spLocks noChangeShapeType="1"/>
                    </p:cNvSpPr>
                    <p:nvPr/>
                  </p:nvSpPr>
                  <p:spPr bwMode="auto">
                    <a:xfrm>
                      <a:off x="968" y="3184"/>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38" name="Line 358"/>
                    <p:cNvSpPr>
                      <a:spLocks noChangeShapeType="1"/>
                    </p:cNvSpPr>
                    <p:nvPr/>
                  </p:nvSpPr>
                  <p:spPr bwMode="auto">
                    <a:xfrm>
                      <a:off x="968" y="319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39" name="Line 359"/>
                    <p:cNvSpPr>
                      <a:spLocks noChangeShapeType="1"/>
                    </p:cNvSpPr>
                    <p:nvPr/>
                  </p:nvSpPr>
                  <p:spPr bwMode="auto">
                    <a:xfrm>
                      <a:off x="968" y="321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0" name="Line 360"/>
                    <p:cNvSpPr>
                      <a:spLocks noChangeShapeType="1"/>
                    </p:cNvSpPr>
                    <p:nvPr/>
                  </p:nvSpPr>
                  <p:spPr bwMode="auto">
                    <a:xfrm>
                      <a:off x="968" y="3227"/>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41" name="Line 361"/>
                    <p:cNvSpPr>
                      <a:spLocks noChangeShapeType="1"/>
                    </p:cNvSpPr>
                    <p:nvPr/>
                  </p:nvSpPr>
                  <p:spPr bwMode="auto">
                    <a:xfrm>
                      <a:off x="968" y="3242"/>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nvGrpSpPr>
                  <p:cNvPr id="125" name="Group 362"/>
                  <p:cNvGrpSpPr>
                    <a:grpSpLocks/>
                  </p:cNvGrpSpPr>
                  <p:nvPr/>
                </p:nvGrpSpPr>
                <p:grpSpPr bwMode="auto">
                  <a:xfrm>
                    <a:off x="968" y="3257"/>
                    <a:ext cx="54" cy="101"/>
                    <a:chOff x="968" y="3257"/>
                    <a:chExt cx="54" cy="101"/>
                  </a:xfrm>
                </p:grpSpPr>
                <p:sp>
                  <p:nvSpPr>
                    <p:cNvPr id="126" name="Line 363"/>
                    <p:cNvSpPr>
                      <a:spLocks noChangeShapeType="1"/>
                    </p:cNvSpPr>
                    <p:nvPr/>
                  </p:nvSpPr>
                  <p:spPr bwMode="auto">
                    <a:xfrm>
                      <a:off x="968" y="3257"/>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27" name="Line 364"/>
                    <p:cNvSpPr>
                      <a:spLocks noChangeShapeType="1"/>
                    </p:cNvSpPr>
                    <p:nvPr/>
                  </p:nvSpPr>
                  <p:spPr bwMode="auto">
                    <a:xfrm>
                      <a:off x="968" y="3271"/>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28" name="Line 365"/>
                    <p:cNvSpPr>
                      <a:spLocks noChangeShapeType="1"/>
                    </p:cNvSpPr>
                    <p:nvPr/>
                  </p:nvSpPr>
                  <p:spPr bwMode="auto">
                    <a:xfrm>
                      <a:off x="968" y="3286"/>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29" name="Line 366"/>
                    <p:cNvSpPr>
                      <a:spLocks noChangeShapeType="1"/>
                    </p:cNvSpPr>
                    <p:nvPr/>
                  </p:nvSpPr>
                  <p:spPr bwMode="auto">
                    <a:xfrm>
                      <a:off x="968" y="3300"/>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30" name="Line 367"/>
                    <p:cNvSpPr>
                      <a:spLocks noChangeShapeType="1"/>
                    </p:cNvSpPr>
                    <p:nvPr/>
                  </p:nvSpPr>
                  <p:spPr bwMode="auto">
                    <a:xfrm>
                      <a:off x="968" y="3315"/>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31" name="Line 368"/>
                    <p:cNvSpPr>
                      <a:spLocks noChangeShapeType="1"/>
                    </p:cNvSpPr>
                    <p:nvPr/>
                  </p:nvSpPr>
                  <p:spPr bwMode="auto">
                    <a:xfrm>
                      <a:off x="968" y="3329"/>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32" name="Line 369"/>
                    <p:cNvSpPr>
                      <a:spLocks noChangeShapeType="1"/>
                    </p:cNvSpPr>
                    <p:nvPr/>
                  </p:nvSpPr>
                  <p:spPr bwMode="auto">
                    <a:xfrm>
                      <a:off x="968" y="3343"/>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33" name="Line 370"/>
                    <p:cNvSpPr>
                      <a:spLocks noChangeShapeType="1"/>
                    </p:cNvSpPr>
                    <p:nvPr/>
                  </p:nvSpPr>
                  <p:spPr bwMode="auto">
                    <a:xfrm>
                      <a:off x="968" y="3358"/>
                      <a:ext cx="54" cy="0"/>
                    </a:xfrm>
                    <a:prstGeom prst="line">
                      <a:avLst/>
                    </a:prstGeom>
                    <a:noFill/>
                    <a:ln w="12700">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sp>
              <p:nvSpPr>
                <p:cNvPr id="120" name="Rectangle 371"/>
                <p:cNvSpPr>
                  <a:spLocks noChangeArrowheads="1"/>
                </p:cNvSpPr>
                <p:nvPr/>
              </p:nvSpPr>
              <p:spPr bwMode="auto">
                <a:xfrm>
                  <a:off x="830" y="3068"/>
                  <a:ext cx="119" cy="113"/>
                </a:xfrm>
                <a:prstGeom prst="rect">
                  <a:avLst/>
                </a:prstGeom>
                <a:solidFill>
                  <a:srgbClr val="A2C1FE"/>
                </a:solidFill>
                <a:ln w="12700">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sp>
              <p:nvSpPr>
                <p:cNvPr id="121" name="Rectangle 372"/>
                <p:cNvSpPr>
                  <a:spLocks noChangeArrowheads="1"/>
                </p:cNvSpPr>
                <p:nvPr/>
              </p:nvSpPr>
              <p:spPr bwMode="auto">
                <a:xfrm>
                  <a:off x="762" y="3241"/>
                  <a:ext cx="48" cy="58"/>
                </a:xfrm>
                <a:prstGeom prst="rect">
                  <a:avLst/>
                </a:prstGeom>
                <a:solidFill>
                  <a:srgbClr val="A2C1FE"/>
                </a:solidFill>
                <a:ln w="12700">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sp>
              <p:nvSpPr>
                <p:cNvPr id="122" name="Rectangle 373"/>
                <p:cNvSpPr>
                  <a:spLocks noChangeArrowheads="1"/>
                </p:cNvSpPr>
                <p:nvPr/>
              </p:nvSpPr>
              <p:spPr bwMode="auto">
                <a:xfrm>
                  <a:off x="971" y="3200"/>
                  <a:ext cx="48" cy="58"/>
                </a:xfrm>
                <a:prstGeom prst="rect">
                  <a:avLst/>
                </a:prstGeom>
                <a:solidFill>
                  <a:srgbClr val="A2C1FE"/>
                </a:solidFill>
                <a:ln w="12700">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grpSp>
          <p:grpSp>
            <p:nvGrpSpPr>
              <p:cNvPr id="78" name="Group 374"/>
              <p:cNvGrpSpPr>
                <a:grpSpLocks/>
              </p:cNvGrpSpPr>
              <p:nvPr/>
            </p:nvGrpSpPr>
            <p:grpSpPr bwMode="auto">
              <a:xfrm>
                <a:off x="924" y="3076"/>
                <a:ext cx="303" cy="585"/>
                <a:chOff x="924" y="3076"/>
                <a:chExt cx="303" cy="585"/>
              </a:xfrm>
            </p:grpSpPr>
            <p:grpSp>
              <p:nvGrpSpPr>
                <p:cNvPr id="85" name="Group 375"/>
                <p:cNvGrpSpPr>
                  <a:grpSpLocks/>
                </p:cNvGrpSpPr>
                <p:nvPr/>
              </p:nvGrpSpPr>
              <p:grpSpPr bwMode="auto">
                <a:xfrm>
                  <a:off x="1051" y="3076"/>
                  <a:ext cx="176" cy="505"/>
                  <a:chOff x="1051" y="3076"/>
                  <a:chExt cx="176" cy="505"/>
                </a:xfrm>
              </p:grpSpPr>
              <p:sp>
                <p:nvSpPr>
                  <p:cNvPr id="106" name="Freeform 376"/>
                  <p:cNvSpPr>
                    <a:spLocks/>
                  </p:cNvSpPr>
                  <p:nvPr/>
                </p:nvSpPr>
                <p:spPr bwMode="auto">
                  <a:xfrm>
                    <a:off x="1051" y="3076"/>
                    <a:ext cx="176" cy="505"/>
                  </a:xfrm>
                  <a:custGeom>
                    <a:avLst/>
                    <a:gdLst>
                      <a:gd name="T0" fmla="*/ 0 w 176"/>
                      <a:gd name="T1" fmla="*/ 0 h 505"/>
                      <a:gd name="T2" fmla="*/ 175 w 176"/>
                      <a:gd name="T3" fmla="*/ 150 h 505"/>
                      <a:gd name="T4" fmla="*/ 175 w 176"/>
                      <a:gd name="T5" fmla="*/ 504 h 505"/>
                      <a:gd name="T6" fmla="*/ 0 w 176"/>
                      <a:gd name="T7" fmla="*/ 351 h 505"/>
                      <a:gd name="T8" fmla="*/ 0 w 176"/>
                      <a:gd name="T9" fmla="*/ 0 h 505"/>
                      <a:gd name="T10" fmla="*/ 0 60000 65536"/>
                      <a:gd name="T11" fmla="*/ 0 60000 65536"/>
                      <a:gd name="T12" fmla="*/ 0 60000 65536"/>
                      <a:gd name="T13" fmla="*/ 0 60000 65536"/>
                      <a:gd name="T14" fmla="*/ 0 60000 65536"/>
                      <a:gd name="T15" fmla="*/ 0 w 176"/>
                      <a:gd name="T16" fmla="*/ 0 h 505"/>
                      <a:gd name="T17" fmla="*/ 176 w 176"/>
                      <a:gd name="T18" fmla="*/ 505 h 505"/>
                    </a:gdLst>
                    <a:ahLst/>
                    <a:cxnLst>
                      <a:cxn ang="T10">
                        <a:pos x="T0" y="T1"/>
                      </a:cxn>
                      <a:cxn ang="T11">
                        <a:pos x="T2" y="T3"/>
                      </a:cxn>
                      <a:cxn ang="T12">
                        <a:pos x="T4" y="T5"/>
                      </a:cxn>
                      <a:cxn ang="T13">
                        <a:pos x="T6" y="T7"/>
                      </a:cxn>
                      <a:cxn ang="T14">
                        <a:pos x="T8" y="T9"/>
                      </a:cxn>
                    </a:cxnLst>
                    <a:rect l="T15" t="T16" r="T17" b="T18"/>
                    <a:pathLst>
                      <a:path w="176" h="505">
                        <a:moveTo>
                          <a:pt x="0" y="0"/>
                        </a:moveTo>
                        <a:lnTo>
                          <a:pt x="175" y="150"/>
                        </a:lnTo>
                        <a:lnTo>
                          <a:pt x="175" y="504"/>
                        </a:lnTo>
                        <a:lnTo>
                          <a:pt x="0" y="351"/>
                        </a:lnTo>
                        <a:lnTo>
                          <a:pt x="0" y="0"/>
                        </a:lnTo>
                      </a:path>
                    </a:pathLst>
                  </a:custGeom>
                  <a:solidFill>
                    <a:srgbClr val="58AAE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grpSp>
                <p:nvGrpSpPr>
                  <p:cNvPr id="107" name="Group 377"/>
                  <p:cNvGrpSpPr>
                    <a:grpSpLocks/>
                  </p:cNvGrpSpPr>
                  <p:nvPr/>
                </p:nvGrpSpPr>
                <p:grpSpPr bwMode="auto">
                  <a:xfrm>
                    <a:off x="1069" y="3157"/>
                    <a:ext cx="130" cy="342"/>
                    <a:chOff x="1069" y="3157"/>
                    <a:chExt cx="130" cy="342"/>
                  </a:xfrm>
                </p:grpSpPr>
                <p:sp>
                  <p:nvSpPr>
                    <p:cNvPr id="108" name="Line 378"/>
                    <p:cNvSpPr>
                      <a:spLocks noChangeShapeType="1"/>
                    </p:cNvSpPr>
                    <p:nvPr/>
                  </p:nvSpPr>
                  <p:spPr bwMode="auto">
                    <a:xfrm>
                      <a:off x="1069" y="3157"/>
                      <a:ext cx="130" cy="109"/>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09" name="Line 379"/>
                    <p:cNvSpPr>
                      <a:spLocks noChangeShapeType="1"/>
                    </p:cNvSpPr>
                    <p:nvPr/>
                  </p:nvSpPr>
                  <p:spPr bwMode="auto">
                    <a:xfrm>
                      <a:off x="1069" y="3203"/>
                      <a:ext cx="130" cy="11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10" name="Line 380"/>
                    <p:cNvSpPr>
                      <a:spLocks noChangeShapeType="1"/>
                    </p:cNvSpPr>
                    <p:nvPr/>
                  </p:nvSpPr>
                  <p:spPr bwMode="auto">
                    <a:xfrm>
                      <a:off x="1069" y="3250"/>
                      <a:ext cx="130" cy="11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11" name="Line 381"/>
                    <p:cNvSpPr>
                      <a:spLocks noChangeShapeType="1"/>
                    </p:cNvSpPr>
                    <p:nvPr/>
                  </p:nvSpPr>
                  <p:spPr bwMode="auto">
                    <a:xfrm>
                      <a:off x="1069" y="3297"/>
                      <a:ext cx="130" cy="11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12" name="Line 382"/>
                    <p:cNvSpPr>
                      <a:spLocks noChangeShapeType="1"/>
                    </p:cNvSpPr>
                    <p:nvPr/>
                  </p:nvSpPr>
                  <p:spPr bwMode="auto">
                    <a:xfrm>
                      <a:off x="1069" y="3344"/>
                      <a:ext cx="130" cy="109"/>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13" name="Line 383"/>
                    <p:cNvSpPr>
                      <a:spLocks noChangeShapeType="1"/>
                    </p:cNvSpPr>
                    <p:nvPr/>
                  </p:nvSpPr>
                  <p:spPr bwMode="auto">
                    <a:xfrm>
                      <a:off x="1069" y="3390"/>
                      <a:ext cx="130" cy="109"/>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sp>
              <p:nvSpPr>
                <p:cNvPr id="86" name="Freeform 384"/>
                <p:cNvSpPr>
                  <a:spLocks/>
                </p:cNvSpPr>
                <p:nvPr/>
              </p:nvSpPr>
              <p:spPr bwMode="auto">
                <a:xfrm>
                  <a:off x="1051" y="3162"/>
                  <a:ext cx="120" cy="367"/>
                </a:xfrm>
                <a:custGeom>
                  <a:avLst/>
                  <a:gdLst>
                    <a:gd name="T0" fmla="*/ 0 w 120"/>
                    <a:gd name="T1" fmla="*/ 0 h 367"/>
                    <a:gd name="T2" fmla="*/ 119 w 120"/>
                    <a:gd name="T3" fmla="*/ 103 h 367"/>
                    <a:gd name="T4" fmla="*/ 119 w 120"/>
                    <a:gd name="T5" fmla="*/ 366 h 367"/>
                    <a:gd name="T6" fmla="*/ 0 w 120"/>
                    <a:gd name="T7" fmla="*/ 272 h 367"/>
                    <a:gd name="T8" fmla="*/ 0 w 120"/>
                    <a:gd name="T9" fmla="*/ 0 h 367"/>
                    <a:gd name="T10" fmla="*/ 0 60000 65536"/>
                    <a:gd name="T11" fmla="*/ 0 60000 65536"/>
                    <a:gd name="T12" fmla="*/ 0 60000 65536"/>
                    <a:gd name="T13" fmla="*/ 0 60000 65536"/>
                    <a:gd name="T14" fmla="*/ 0 60000 65536"/>
                    <a:gd name="T15" fmla="*/ 0 w 120"/>
                    <a:gd name="T16" fmla="*/ 0 h 367"/>
                    <a:gd name="T17" fmla="*/ 120 w 120"/>
                    <a:gd name="T18" fmla="*/ 367 h 367"/>
                  </a:gdLst>
                  <a:ahLst/>
                  <a:cxnLst>
                    <a:cxn ang="T10">
                      <a:pos x="T0" y="T1"/>
                    </a:cxn>
                    <a:cxn ang="T11">
                      <a:pos x="T2" y="T3"/>
                    </a:cxn>
                    <a:cxn ang="T12">
                      <a:pos x="T4" y="T5"/>
                    </a:cxn>
                    <a:cxn ang="T13">
                      <a:pos x="T6" y="T7"/>
                    </a:cxn>
                    <a:cxn ang="T14">
                      <a:pos x="T8" y="T9"/>
                    </a:cxn>
                  </a:cxnLst>
                  <a:rect l="T15" t="T16" r="T17" b="T18"/>
                  <a:pathLst>
                    <a:path w="120" h="367">
                      <a:moveTo>
                        <a:pt x="0" y="0"/>
                      </a:moveTo>
                      <a:lnTo>
                        <a:pt x="119" y="103"/>
                      </a:lnTo>
                      <a:lnTo>
                        <a:pt x="119" y="366"/>
                      </a:lnTo>
                      <a:lnTo>
                        <a:pt x="0" y="272"/>
                      </a:lnTo>
                      <a:lnTo>
                        <a:pt x="0" y="0"/>
                      </a:lnTo>
                    </a:path>
                  </a:pathLst>
                </a:custGeom>
                <a:solidFill>
                  <a:srgbClr val="1474C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grpSp>
              <p:nvGrpSpPr>
                <p:cNvPr id="87" name="Group 385"/>
                <p:cNvGrpSpPr>
                  <a:grpSpLocks/>
                </p:cNvGrpSpPr>
                <p:nvPr/>
              </p:nvGrpSpPr>
              <p:grpSpPr bwMode="auto">
                <a:xfrm>
                  <a:off x="988" y="3116"/>
                  <a:ext cx="176" cy="505"/>
                  <a:chOff x="988" y="3116"/>
                  <a:chExt cx="176" cy="505"/>
                </a:xfrm>
              </p:grpSpPr>
              <p:sp>
                <p:nvSpPr>
                  <p:cNvPr id="98" name="Freeform 386"/>
                  <p:cNvSpPr>
                    <a:spLocks/>
                  </p:cNvSpPr>
                  <p:nvPr/>
                </p:nvSpPr>
                <p:spPr bwMode="auto">
                  <a:xfrm>
                    <a:off x="988" y="3116"/>
                    <a:ext cx="176" cy="505"/>
                  </a:xfrm>
                  <a:custGeom>
                    <a:avLst/>
                    <a:gdLst>
                      <a:gd name="T0" fmla="*/ 0 w 176"/>
                      <a:gd name="T1" fmla="*/ 0 h 505"/>
                      <a:gd name="T2" fmla="*/ 175 w 176"/>
                      <a:gd name="T3" fmla="*/ 150 h 505"/>
                      <a:gd name="T4" fmla="*/ 175 w 176"/>
                      <a:gd name="T5" fmla="*/ 504 h 505"/>
                      <a:gd name="T6" fmla="*/ 0 w 176"/>
                      <a:gd name="T7" fmla="*/ 351 h 505"/>
                      <a:gd name="T8" fmla="*/ 0 w 176"/>
                      <a:gd name="T9" fmla="*/ 0 h 505"/>
                      <a:gd name="T10" fmla="*/ 0 60000 65536"/>
                      <a:gd name="T11" fmla="*/ 0 60000 65536"/>
                      <a:gd name="T12" fmla="*/ 0 60000 65536"/>
                      <a:gd name="T13" fmla="*/ 0 60000 65536"/>
                      <a:gd name="T14" fmla="*/ 0 60000 65536"/>
                      <a:gd name="T15" fmla="*/ 0 w 176"/>
                      <a:gd name="T16" fmla="*/ 0 h 505"/>
                      <a:gd name="T17" fmla="*/ 176 w 176"/>
                      <a:gd name="T18" fmla="*/ 505 h 505"/>
                    </a:gdLst>
                    <a:ahLst/>
                    <a:cxnLst>
                      <a:cxn ang="T10">
                        <a:pos x="T0" y="T1"/>
                      </a:cxn>
                      <a:cxn ang="T11">
                        <a:pos x="T2" y="T3"/>
                      </a:cxn>
                      <a:cxn ang="T12">
                        <a:pos x="T4" y="T5"/>
                      </a:cxn>
                      <a:cxn ang="T13">
                        <a:pos x="T6" y="T7"/>
                      </a:cxn>
                      <a:cxn ang="T14">
                        <a:pos x="T8" y="T9"/>
                      </a:cxn>
                    </a:cxnLst>
                    <a:rect l="T15" t="T16" r="T17" b="T18"/>
                    <a:pathLst>
                      <a:path w="176" h="505">
                        <a:moveTo>
                          <a:pt x="0" y="0"/>
                        </a:moveTo>
                        <a:lnTo>
                          <a:pt x="175" y="150"/>
                        </a:lnTo>
                        <a:lnTo>
                          <a:pt x="175" y="504"/>
                        </a:lnTo>
                        <a:lnTo>
                          <a:pt x="0" y="351"/>
                        </a:lnTo>
                        <a:lnTo>
                          <a:pt x="0" y="0"/>
                        </a:lnTo>
                      </a:path>
                    </a:pathLst>
                  </a:custGeom>
                  <a:solidFill>
                    <a:srgbClr val="58AAE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grpSp>
                <p:nvGrpSpPr>
                  <p:cNvPr id="99" name="Group 387"/>
                  <p:cNvGrpSpPr>
                    <a:grpSpLocks/>
                  </p:cNvGrpSpPr>
                  <p:nvPr/>
                </p:nvGrpSpPr>
                <p:grpSpPr bwMode="auto">
                  <a:xfrm>
                    <a:off x="1005" y="3197"/>
                    <a:ext cx="131" cy="342"/>
                    <a:chOff x="1005" y="3197"/>
                    <a:chExt cx="131" cy="342"/>
                  </a:xfrm>
                </p:grpSpPr>
                <p:sp>
                  <p:nvSpPr>
                    <p:cNvPr id="100" name="Line 388"/>
                    <p:cNvSpPr>
                      <a:spLocks noChangeShapeType="1"/>
                    </p:cNvSpPr>
                    <p:nvPr/>
                  </p:nvSpPr>
                  <p:spPr bwMode="auto">
                    <a:xfrm>
                      <a:off x="1005" y="3197"/>
                      <a:ext cx="131" cy="109"/>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01" name="Line 389"/>
                    <p:cNvSpPr>
                      <a:spLocks noChangeShapeType="1"/>
                    </p:cNvSpPr>
                    <p:nvPr/>
                  </p:nvSpPr>
                  <p:spPr bwMode="auto">
                    <a:xfrm>
                      <a:off x="1005" y="3243"/>
                      <a:ext cx="131" cy="11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02" name="Line 390"/>
                    <p:cNvSpPr>
                      <a:spLocks noChangeShapeType="1"/>
                    </p:cNvSpPr>
                    <p:nvPr/>
                  </p:nvSpPr>
                  <p:spPr bwMode="auto">
                    <a:xfrm>
                      <a:off x="1005" y="3290"/>
                      <a:ext cx="131" cy="109"/>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03" name="Line 391"/>
                    <p:cNvSpPr>
                      <a:spLocks noChangeShapeType="1"/>
                    </p:cNvSpPr>
                    <p:nvPr/>
                  </p:nvSpPr>
                  <p:spPr bwMode="auto">
                    <a:xfrm>
                      <a:off x="1005" y="3336"/>
                      <a:ext cx="131" cy="11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04" name="Line 392"/>
                    <p:cNvSpPr>
                      <a:spLocks noChangeShapeType="1"/>
                    </p:cNvSpPr>
                    <p:nvPr/>
                  </p:nvSpPr>
                  <p:spPr bwMode="auto">
                    <a:xfrm>
                      <a:off x="1005" y="3383"/>
                      <a:ext cx="131" cy="11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105" name="Line 393"/>
                    <p:cNvSpPr>
                      <a:spLocks noChangeShapeType="1"/>
                    </p:cNvSpPr>
                    <p:nvPr/>
                  </p:nvSpPr>
                  <p:spPr bwMode="auto">
                    <a:xfrm>
                      <a:off x="1005" y="3430"/>
                      <a:ext cx="131" cy="109"/>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sp>
              <p:nvSpPr>
                <p:cNvPr id="88" name="Freeform 394"/>
                <p:cNvSpPr>
                  <a:spLocks/>
                </p:cNvSpPr>
                <p:nvPr/>
              </p:nvSpPr>
              <p:spPr bwMode="auto">
                <a:xfrm>
                  <a:off x="986" y="3202"/>
                  <a:ext cx="119" cy="367"/>
                </a:xfrm>
                <a:custGeom>
                  <a:avLst/>
                  <a:gdLst>
                    <a:gd name="T0" fmla="*/ 0 w 119"/>
                    <a:gd name="T1" fmla="*/ 0 h 367"/>
                    <a:gd name="T2" fmla="*/ 118 w 119"/>
                    <a:gd name="T3" fmla="*/ 103 h 367"/>
                    <a:gd name="T4" fmla="*/ 118 w 119"/>
                    <a:gd name="T5" fmla="*/ 366 h 367"/>
                    <a:gd name="T6" fmla="*/ 0 w 119"/>
                    <a:gd name="T7" fmla="*/ 272 h 367"/>
                    <a:gd name="T8" fmla="*/ 0 w 119"/>
                    <a:gd name="T9" fmla="*/ 0 h 367"/>
                    <a:gd name="T10" fmla="*/ 0 60000 65536"/>
                    <a:gd name="T11" fmla="*/ 0 60000 65536"/>
                    <a:gd name="T12" fmla="*/ 0 60000 65536"/>
                    <a:gd name="T13" fmla="*/ 0 60000 65536"/>
                    <a:gd name="T14" fmla="*/ 0 60000 65536"/>
                    <a:gd name="T15" fmla="*/ 0 w 119"/>
                    <a:gd name="T16" fmla="*/ 0 h 367"/>
                    <a:gd name="T17" fmla="*/ 119 w 119"/>
                    <a:gd name="T18" fmla="*/ 367 h 367"/>
                  </a:gdLst>
                  <a:ahLst/>
                  <a:cxnLst>
                    <a:cxn ang="T10">
                      <a:pos x="T0" y="T1"/>
                    </a:cxn>
                    <a:cxn ang="T11">
                      <a:pos x="T2" y="T3"/>
                    </a:cxn>
                    <a:cxn ang="T12">
                      <a:pos x="T4" y="T5"/>
                    </a:cxn>
                    <a:cxn ang="T13">
                      <a:pos x="T6" y="T7"/>
                    </a:cxn>
                    <a:cxn ang="T14">
                      <a:pos x="T8" y="T9"/>
                    </a:cxn>
                  </a:cxnLst>
                  <a:rect l="T15" t="T16" r="T17" b="T18"/>
                  <a:pathLst>
                    <a:path w="119" h="367">
                      <a:moveTo>
                        <a:pt x="0" y="0"/>
                      </a:moveTo>
                      <a:lnTo>
                        <a:pt x="118" y="103"/>
                      </a:lnTo>
                      <a:lnTo>
                        <a:pt x="118" y="366"/>
                      </a:lnTo>
                      <a:lnTo>
                        <a:pt x="0" y="272"/>
                      </a:lnTo>
                      <a:lnTo>
                        <a:pt x="0" y="0"/>
                      </a:lnTo>
                    </a:path>
                  </a:pathLst>
                </a:custGeom>
                <a:solidFill>
                  <a:srgbClr val="1474C2"/>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grpSp>
              <p:nvGrpSpPr>
                <p:cNvPr id="89" name="Group 395"/>
                <p:cNvGrpSpPr>
                  <a:grpSpLocks/>
                </p:cNvGrpSpPr>
                <p:nvPr/>
              </p:nvGrpSpPr>
              <p:grpSpPr bwMode="auto">
                <a:xfrm>
                  <a:off x="924" y="3156"/>
                  <a:ext cx="177" cy="505"/>
                  <a:chOff x="924" y="3156"/>
                  <a:chExt cx="177" cy="505"/>
                </a:xfrm>
              </p:grpSpPr>
              <p:sp>
                <p:nvSpPr>
                  <p:cNvPr id="90" name="Freeform 396"/>
                  <p:cNvSpPr>
                    <a:spLocks/>
                  </p:cNvSpPr>
                  <p:nvPr/>
                </p:nvSpPr>
                <p:spPr bwMode="auto">
                  <a:xfrm>
                    <a:off x="924" y="3156"/>
                    <a:ext cx="177" cy="505"/>
                  </a:xfrm>
                  <a:custGeom>
                    <a:avLst/>
                    <a:gdLst>
                      <a:gd name="T0" fmla="*/ 0 w 177"/>
                      <a:gd name="T1" fmla="*/ 0 h 505"/>
                      <a:gd name="T2" fmla="*/ 176 w 177"/>
                      <a:gd name="T3" fmla="*/ 150 h 505"/>
                      <a:gd name="T4" fmla="*/ 176 w 177"/>
                      <a:gd name="T5" fmla="*/ 504 h 505"/>
                      <a:gd name="T6" fmla="*/ 0 w 177"/>
                      <a:gd name="T7" fmla="*/ 351 h 505"/>
                      <a:gd name="T8" fmla="*/ 0 w 177"/>
                      <a:gd name="T9" fmla="*/ 0 h 505"/>
                      <a:gd name="T10" fmla="*/ 0 60000 65536"/>
                      <a:gd name="T11" fmla="*/ 0 60000 65536"/>
                      <a:gd name="T12" fmla="*/ 0 60000 65536"/>
                      <a:gd name="T13" fmla="*/ 0 60000 65536"/>
                      <a:gd name="T14" fmla="*/ 0 60000 65536"/>
                      <a:gd name="T15" fmla="*/ 0 w 177"/>
                      <a:gd name="T16" fmla="*/ 0 h 505"/>
                      <a:gd name="T17" fmla="*/ 177 w 177"/>
                      <a:gd name="T18" fmla="*/ 505 h 505"/>
                    </a:gdLst>
                    <a:ahLst/>
                    <a:cxnLst>
                      <a:cxn ang="T10">
                        <a:pos x="T0" y="T1"/>
                      </a:cxn>
                      <a:cxn ang="T11">
                        <a:pos x="T2" y="T3"/>
                      </a:cxn>
                      <a:cxn ang="T12">
                        <a:pos x="T4" y="T5"/>
                      </a:cxn>
                      <a:cxn ang="T13">
                        <a:pos x="T6" y="T7"/>
                      </a:cxn>
                      <a:cxn ang="T14">
                        <a:pos x="T8" y="T9"/>
                      </a:cxn>
                    </a:cxnLst>
                    <a:rect l="T15" t="T16" r="T17" b="T18"/>
                    <a:pathLst>
                      <a:path w="177" h="505">
                        <a:moveTo>
                          <a:pt x="0" y="0"/>
                        </a:moveTo>
                        <a:lnTo>
                          <a:pt x="176" y="150"/>
                        </a:lnTo>
                        <a:lnTo>
                          <a:pt x="176" y="504"/>
                        </a:lnTo>
                        <a:lnTo>
                          <a:pt x="0" y="351"/>
                        </a:lnTo>
                        <a:lnTo>
                          <a:pt x="0" y="0"/>
                        </a:lnTo>
                      </a:path>
                    </a:pathLst>
                  </a:custGeom>
                  <a:solidFill>
                    <a:srgbClr val="58AAEE"/>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endParaRPr lang="en-US" sz="1350"/>
                  </a:p>
                </p:txBody>
              </p:sp>
              <p:grpSp>
                <p:nvGrpSpPr>
                  <p:cNvPr id="91" name="Group 397"/>
                  <p:cNvGrpSpPr>
                    <a:grpSpLocks/>
                  </p:cNvGrpSpPr>
                  <p:nvPr/>
                </p:nvGrpSpPr>
                <p:grpSpPr bwMode="auto">
                  <a:xfrm>
                    <a:off x="942" y="3237"/>
                    <a:ext cx="130" cy="342"/>
                    <a:chOff x="942" y="3237"/>
                    <a:chExt cx="130" cy="342"/>
                  </a:xfrm>
                </p:grpSpPr>
                <p:sp>
                  <p:nvSpPr>
                    <p:cNvPr id="92" name="Line 398"/>
                    <p:cNvSpPr>
                      <a:spLocks noChangeShapeType="1"/>
                    </p:cNvSpPr>
                    <p:nvPr/>
                  </p:nvSpPr>
                  <p:spPr bwMode="auto">
                    <a:xfrm>
                      <a:off x="942" y="3237"/>
                      <a:ext cx="130" cy="109"/>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93" name="Line 399"/>
                    <p:cNvSpPr>
                      <a:spLocks noChangeShapeType="1"/>
                    </p:cNvSpPr>
                    <p:nvPr/>
                  </p:nvSpPr>
                  <p:spPr bwMode="auto">
                    <a:xfrm>
                      <a:off x="942" y="3283"/>
                      <a:ext cx="130" cy="109"/>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94" name="Line 400"/>
                    <p:cNvSpPr>
                      <a:spLocks noChangeShapeType="1"/>
                    </p:cNvSpPr>
                    <p:nvPr/>
                  </p:nvSpPr>
                  <p:spPr bwMode="auto">
                    <a:xfrm>
                      <a:off x="942" y="3329"/>
                      <a:ext cx="130" cy="11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95" name="Line 401"/>
                    <p:cNvSpPr>
                      <a:spLocks noChangeShapeType="1"/>
                    </p:cNvSpPr>
                    <p:nvPr/>
                  </p:nvSpPr>
                  <p:spPr bwMode="auto">
                    <a:xfrm>
                      <a:off x="942" y="3376"/>
                      <a:ext cx="130" cy="110"/>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96" name="Line 402"/>
                    <p:cNvSpPr>
                      <a:spLocks noChangeShapeType="1"/>
                    </p:cNvSpPr>
                    <p:nvPr/>
                  </p:nvSpPr>
                  <p:spPr bwMode="auto">
                    <a:xfrm>
                      <a:off x="942" y="3423"/>
                      <a:ext cx="130" cy="109"/>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97" name="Line 403"/>
                    <p:cNvSpPr>
                      <a:spLocks noChangeShapeType="1"/>
                    </p:cNvSpPr>
                    <p:nvPr/>
                  </p:nvSpPr>
                  <p:spPr bwMode="auto">
                    <a:xfrm>
                      <a:off x="942" y="3470"/>
                      <a:ext cx="130" cy="109"/>
                    </a:xfrm>
                    <a:prstGeom prst="line">
                      <a:avLst/>
                    </a:prstGeom>
                    <a:noFill/>
                    <a:ln w="12700">
                      <a:solidFill>
                        <a:srgbClr val="B6DAF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grpSp>
            </p:grpSp>
          </p:grpSp>
          <p:grpSp>
            <p:nvGrpSpPr>
              <p:cNvPr id="79" name="Group 404"/>
              <p:cNvGrpSpPr>
                <a:grpSpLocks/>
              </p:cNvGrpSpPr>
              <p:nvPr/>
            </p:nvGrpSpPr>
            <p:grpSpPr bwMode="auto">
              <a:xfrm>
                <a:off x="558" y="3334"/>
                <a:ext cx="425" cy="254"/>
                <a:chOff x="558" y="3334"/>
                <a:chExt cx="425" cy="254"/>
              </a:xfrm>
            </p:grpSpPr>
            <p:sp>
              <p:nvSpPr>
                <p:cNvPr id="80" name="AutoShape 405"/>
                <p:cNvSpPr>
                  <a:spLocks noChangeArrowheads="1"/>
                </p:cNvSpPr>
                <p:nvPr/>
              </p:nvSpPr>
              <p:spPr bwMode="auto">
                <a:xfrm>
                  <a:off x="558" y="3334"/>
                  <a:ext cx="369" cy="254"/>
                </a:xfrm>
                <a:prstGeom prst="roundRect">
                  <a:avLst>
                    <a:gd name="adj" fmla="val 12495"/>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sp>
              <p:nvSpPr>
                <p:cNvPr id="81" name="Rectangle 406"/>
                <p:cNvSpPr>
                  <a:spLocks noChangeArrowheads="1"/>
                </p:cNvSpPr>
                <p:nvPr/>
              </p:nvSpPr>
              <p:spPr bwMode="auto">
                <a:xfrm>
                  <a:off x="558" y="3334"/>
                  <a:ext cx="370" cy="62"/>
                </a:xfrm>
                <a:prstGeom prst="rect">
                  <a:avLst/>
                </a:prstGeom>
                <a:solidFill>
                  <a:srgbClr val="063DE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sp>
              <p:nvSpPr>
                <p:cNvPr id="82" name="Rectangle 407"/>
                <p:cNvSpPr>
                  <a:spLocks noChangeArrowheads="1"/>
                </p:cNvSpPr>
                <p:nvPr/>
              </p:nvSpPr>
              <p:spPr bwMode="auto">
                <a:xfrm>
                  <a:off x="558" y="3524"/>
                  <a:ext cx="370" cy="64"/>
                </a:xfrm>
                <a:prstGeom prst="rect">
                  <a:avLst/>
                </a:prstGeom>
                <a:solidFill>
                  <a:srgbClr val="E7AF1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sp>
              <p:nvSpPr>
                <p:cNvPr id="83" name="Rectangle 408"/>
                <p:cNvSpPr>
                  <a:spLocks noChangeArrowheads="1"/>
                </p:cNvSpPr>
                <p:nvPr/>
              </p:nvSpPr>
              <p:spPr bwMode="auto">
                <a:xfrm>
                  <a:off x="581" y="3388"/>
                  <a:ext cx="402"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0241" tIns="10716" rIns="20241" bIns="10716">
                  <a:spAutoFit/>
                </a:bodyPr>
                <a:lstStyle>
                  <a:lvl1pPr defTabSz="82550">
                    <a:defRPr sz="2800" b="1">
                      <a:solidFill>
                        <a:schemeClr val="tx1"/>
                      </a:solidFill>
                      <a:latin typeface="Arial" panose="020B0604020202020204" pitchFamily="34" charset="0"/>
                    </a:defRPr>
                  </a:lvl1pPr>
                  <a:lvl2pPr marL="742950" indent="-285750" defTabSz="82550">
                    <a:defRPr sz="2800" b="1">
                      <a:solidFill>
                        <a:schemeClr val="tx1"/>
                      </a:solidFill>
                      <a:latin typeface="Arial" panose="020B0604020202020204" pitchFamily="34" charset="0"/>
                    </a:defRPr>
                  </a:lvl2pPr>
                  <a:lvl3pPr marL="1143000" indent="-228600" defTabSz="82550">
                    <a:defRPr sz="2800" b="1">
                      <a:solidFill>
                        <a:schemeClr val="tx1"/>
                      </a:solidFill>
                      <a:latin typeface="Arial" panose="020B0604020202020204" pitchFamily="34" charset="0"/>
                    </a:defRPr>
                  </a:lvl3pPr>
                  <a:lvl4pPr marL="1600200" indent="-228600" defTabSz="82550">
                    <a:defRPr sz="2800" b="1">
                      <a:solidFill>
                        <a:schemeClr val="tx1"/>
                      </a:solidFill>
                      <a:latin typeface="Arial" panose="020B0604020202020204" pitchFamily="34" charset="0"/>
                    </a:defRPr>
                  </a:lvl4pPr>
                  <a:lvl5pPr marL="2057400" indent="-228600" defTabSz="82550">
                    <a:defRPr sz="2800" b="1">
                      <a:solidFill>
                        <a:schemeClr val="tx1"/>
                      </a:solidFill>
                      <a:latin typeface="Arial" panose="020B0604020202020204" pitchFamily="34" charset="0"/>
                    </a:defRPr>
                  </a:lvl5pPr>
                  <a:lvl6pPr marL="2514600" indent="-228600" defTabSz="82550" eaLnBrk="0" fontAlgn="base" hangingPunct="0">
                    <a:spcBef>
                      <a:spcPct val="0"/>
                    </a:spcBef>
                    <a:spcAft>
                      <a:spcPct val="0"/>
                    </a:spcAft>
                    <a:defRPr sz="2800" b="1">
                      <a:solidFill>
                        <a:schemeClr val="tx1"/>
                      </a:solidFill>
                      <a:latin typeface="Arial" panose="020B0604020202020204" pitchFamily="34" charset="0"/>
                    </a:defRPr>
                  </a:lvl6pPr>
                  <a:lvl7pPr marL="2971800" indent="-228600" defTabSz="82550" eaLnBrk="0" fontAlgn="base" hangingPunct="0">
                    <a:spcBef>
                      <a:spcPct val="0"/>
                    </a:spcBef>
                    <a:spcAft>
                      <a:spcPct val="0"/>
                    </a:spcAft>
                    <a:defRPr sz="2800" b="1">
                      <a:solidFill>
                        <a:schemeClr val="tx1"/>
                      </a:solidFill>
                      <a:latin typeface="Arial" panose="020B0604020202020204" pitchFamily="34" charset="0"/>
                    </a:defRPr>
                  </a:lvl7pPr>
                  <a:lvl8pPr marL="3429000" indent="-228600" defTabSz="82550" eaLnBrk="0" fontAlgn="base" hangingPunct="0">
                    <a:spcBef>
                      <a:spcPct val="0"/>
                    </a:spcBef>
                    <a:spcAft>
                      <a:spcPct val="0"/>
                    </a:spcAft>
                    <a:defRPr sz="2800" b="1">
                      <a:solidFill>
                        <a:schemeClr val="tx1"/>
                      </a:solidFill>
                      <a:latin typeface="Arial" panose="020B0604020202020204" pitchFamily="34" charset="0"/>
                    </a:defRPr>
                  </a:lvl8pPr>
                  <a:lvl9pPr marL="3886200" indent="-228600" defTabSz="82550" eaLnBrk="0" fontAlgn="base" hangingPunct="0">
                    <a:spcBef>
                      <a:spcPct val="0"/>
                    </a:spcBef>
                    <a:spcAft>
                      <a:spcPct val="0"/>
                    </a:spcAft>
                    <a:defRPr sz="2800" b="1">
                      <a:solidFill>
                        <a:schemeClr val="tx1"/>
                      </a:solidFill>
                      <a:latin typeface="Arial" panose="020B0604020202020204" pitchFamily="34" charset="0"/>
                    </a:defRPr>
                  </a:lvl9pPr>
                </a:lstStyle>
                <a:p>
                  <a:r>
                    <a:rPr kumimoji="1" lang="en-US" altLang="en-US" sz="1125" i="1">
                      <a:latin typeface="+mn-lt"/>
                    </a:rPr>
                    <a:t>VISA</a:t>
                  </a:r>
                </a:p>
              </p:txBody>
            </p:sp>
            <p:sp>
              <p:nvSpPr>
                <p:cNvPr id="84" name="AutoShape 409"/>
                <p:cNvSpPr>
                  <a:spLocks noChangeArrowheads="1"/>
                </p:cNvSpPr>
                <p:nvPr/>
              </p:nvSpPr>
              <p:spPr bwMode="auto">
                <a:xfrm>
                  <a:off x="563" y="3338"/>
                  <a:ext cx="361" cy="246"/>
                </a:xfrm>
                <a:prstGeom prst="roundRect">
                  <a:avLst>
                    <a:gd name="adj" fmla="val 12495"/>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latin typeface="+mn-lt"/>
                  </a:endParaRPr>
                </a:p>
              </p:txBody>
            </p:sp>
          </p:grpSp>
        </p:grpSp>
        <p:sp>
          <p:nvSpPr>
            <p:cNvPr id="21" name="Rectangle 410"/>
            <p:cNvSpPr>
              <a:spLocks noChangeArrowheads="1"/>
            </p:cNvSpPr>
            <p:nvPr/>
          </p:nvSpPr>
          <p:spPr bwMode="auto">
            <a:xfrm>
              <a:off x="571255" y="5867400"/>
              <a:ext cx="1680067" cy="60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056" tIns="34529" rIns="69056" bIns="34529">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kumimoji="1" lang="en-US" altLang="en-US" sz="1050">
                  <a:latin typeface="+mn-lt"/>
                </a:rPr>
                <a:t>External Data</a:t>
              </a:r>
              <a:br>
                <a:rPr kumimoji="1" lang="en-US" altLang="en-US" sz="1050">
                  <a:latin typeface="+mn-lt"/>
                </a:rPr>
              </a:br>
              <a:r>
                <a:rPr kumimoji="1" lang="en-US" altLang="en-US" sz="1050">
                  <a:latin typeface="+mn-lt"/>
                </a:rPr>
                <a:t>Sources</a:t>
              </a:r>
            </a:p>
          </p:txBody>
        </p:sp>
        <p:grpSp>
          <p:nvGrpSpPr>
            <p:cNvPr id="22" name="Group 411"/>
            <p:cNvGrpSpPr>
              <a:grpSpLocks/>
            </p:cNvGrpSpPr>
            <p:nvPr/>
          </p:nvGrpSpPr>
          <p:grpSpPr bwMode="auto">
            <a:xfrm>
              <a:off x="3532190" y="3282949"/>
              <a:ext cx="1473200" cy="1535105"/>
              <a:chOff x="2129" y="1972"/>
              <a:chExt cx="928" cy="1054"/>
            </a:xfrm>
          </p:grpSpPr>
          <p:grpSp>
            <p:nvGrpSpPr>
              <p:cNvPr id="70" name="Group 413"/>
              <p:cNvGrpSpPr>
                <a:grpSpLocks/>
              </p:cNvGrpSpPr>
              <p:nvPr/>
            </p:nvGrpSpPr>
            <p:grpSpPr bwMode="auto">
              <a:xfrm>
                <a:off x="2129" y="1972"/>
                <a:ext cx="928" cy="848"/>
                <a:chOff x="2129" y="1972"/>
                <a:chExt cx="928" cy="848"/>
              </a:xfrm>
            </p:grpSpPr>
            <p:grpSp>
              <p:nvGrpSpPr>
                <p:cNvPr id="72" name="Group 414"/>
                <p:cNvGrpSpPr>
                  <a:grpSpLocks/>
                </p:cNvGrpSpPr>
                <p:nvPr/>
              </p:nvGrpSpPr>
              <p:grpSpPr bwMode="auto">
                <a:xfrm>
                  <a:off x="2129" y="2086"/>
                  <a:ext cx="928" cy="734"/>
                  <a:chOff x="2129" y="2086"/>
                  <a:chExt cx="928" cy="734"/>
                </a:xfrm>
              </p:grpSpPr>
              <p:sp>
                <p:nvSpPr>
                  <p:cNvPr id="74" name="Oval 415"/>
                  <p:cNvSpPr>
                    <a:spLocks noChangeArrowheads="1"/>
                  </p:cNvSpPr>
                  <p:nvPr/>
                </p:nvSpPr>
                <p:spPr bwMode="auto">
                  <a:xfrm>
                    <a:off x="2129" y="2582"/>
                    <a:ext cx="928" cy="238"/>
                  </a:xfrm>
                  <a:prstGeom prst="ellipse">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sp>
                <p:nvSpPr>
                  <p:cNvPr id="75" name="Rectangle 416"/>
                  <p:cNvSpPr>
                    <a:spLocks noChangeArrowheads="1"/>
                  </p:cNvSpPr>
                  <p:nvPr/>
                </p:nvSpPr>
                <p:spPr bwMode="auto">
                  <a:xfrm>
                    <a:off x="2129" y="2086"/>
                    <a:ext cx="928" cy="620"/>
                  </a:xfrm>
                  <a:prstGeom prst="rect">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grpSp>
            <p:sp>
              <p:nvSpPr>
                <p:cNvPr id="73" name="Oval 417"/>
                <p:cNvSpPr>
                  <a:spLocks noChangeArrowheads="1"/>
                </p:cNvSpPr>
                <p:nvPr/>
              </p:nvSpPr>
              <p:spPr bwMode="auto">
                <a:xfrm>
                  <a:off x="2129" y="1972"/>
                  <a:ext cx="928" cy="237"/>
                </a:xfrm>
                <a:prstGeom prst="ellipse">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grpSp>
          <p:sp>
            <p:nvSpPr>
              <p:cNvPr id="71" name="Rectangle 418"/>
              <p:cNvSpPr>
                <a:spLocks noChangeArrowheads="1"/>
              </p:cNvSpPr>
              <p:nvPr/>
            </p:nvSpPr>
            <p:spPr bwMode="auto">
              <a:xfrm>
                <a:off x="2197" y="2103"/>
                <a:ext cx="808" cy="923"/>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69056" tIns="34529" rIns="69056" bIns="34529">
                <a:spAutoFit/>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defRPr/>
                </a:pPr>
                <a:r>
                  <a:rPr kumimoji="1" lang="en-US" altLang="en-US" sz="1050" dirty="0">
                    <a:latin typeface="+mn-lt"/>
                  </a:rPr>
                  <a:t>Enterprise</a:t>
                </a:r>
              </a:p>
              <a:p>
                <a:pPr algn="ctr">
                  <a:defRPr/>
                </a:pPr>
                <a:r>
                  <a:rPr kumimoji="1" lang="en-US" altLang="en-US" sz="1050" dirty="0">
                    <a:latin typeface="+mn-lt"/>
                  </a:rPr>
                  <a:t>Data</a:t>
                </a:r>
                <a:br>
                  <a:rPr kumimoji="1" lang="en-US" altLang="en-US" sz="1050" dirty="0">
                    <a:latin typeface="+mn-lt"/>
                  </a:rPr>
                </a:br>
                <a:r>
                  <a:rPr kumimoji="1" lang="en-US" altLang="en-US" sz="1050" dirty="0">
                    <a:latin typeface="+mn-lt"/>
                  </a:rPr>
                  <a:t>Warehouse</a:t>
                </a:r>
              </a:p>
            </p:txBody>
          </p:sp>
        </p:grpSp>
        <p:sp>
          <p:nvSpPr>
            <p:cNvPr id="23" name="Rectangle 419"/>
            <p:cNvSpPr>
              <a:spLocks noChangeArrowheads="1"/>
            </p:cNvSpPr>
            <p:nvPr/>
          </p:nvSpPr>
          <p:spPr bwMode="auto">
            <a:xfrm>
              <a:off x="3054961" y="6036714"/>
              <a:ext cx="2230435" cy="60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spcBef>
                  <a:spcPct val="50000"/>
                </a:spcBef>
              </a:pPr>
              <a:r>
                <a:rPr kumimoji="1" lang="en-US" altLang="en-US" sz="1050">
                  <a:latin typeface="+mn-lt"/>
                </a:rPr>
                <a:t>Organizationally structured</a:t>
              </a:r>
              <a:endParaRPr kumimoji="1" lang="en-US" altLang="en-US" sz="1050" b="0">
                <a:latin typeface="+mn-lt"/>
              </a:endParaRPr>
            </a:p>
          </p:txBody>
        </p:sp>
        <p:sp>
          <p:nvSpPr>
            <p:cNvPr id="24" name="AutoShape 420"/>
            <p:cNvSpPr>
              <a:spLocks noChangeArrowheads="1"/>
            </p:cNvSpPr>
            <p:nvPr/>
          </p:nvSpPr>
          <p:spPr bwMode="auto">
            <a:xfrm>
              <a:off x="2216165" y="3054418"/>
              <a:ext cx="140171" cy="291941"/>
            </a:xfrm>
            <a:prstGeom prst="downArrow">
              <a:avLst>
                <a:gd name="adj1" fmla="val 50000"/>
                <a:gd name="adj2" fmla="val 104555"/>
              </a:avLst>
            </a:prstGeom>
            <a:gradFill rotWithShape="0">
              <a:gsLst>
                <a:gs pos="0">
                  <a:schemeClr val="accent1">
                    <a:gamma/>
                    <a:shade val="69804"/>
                    <a:invGamma/>
                  </a:schemeClr>
                </a:gs>
                <a:gs pos="50000">
                  <a:schemeClr val="accent1"/>
                </a:gs>
                <a:gs pos="100000">
                  <a:schemeClr val="accent1">
                    <a:gamma/>
                    <a:shade val="69804"/>
                    <a:invGamma/>
                  </a:schemeClr>
                </a:gs>
              </a:gsLst>
              <a:lin ang="5400000" scaled="1"/>
            </a:gradFill>
            <a:ln w="12700">
              <a:solidFill>
                <a:schemeClr val="tx1"/>
              </a:solidFill>
              <a:miter lim="800000"/>
              <a:headEnd/>
              <a:tailEnd/>
            </a:ln>
            <a:effectLst/>
          </p:spPr>
          <p:txBody>
            <a:bodyPr wrap="none" anchor="ctr"/>
            <a:lstStyle/>
            <a:p>
              <a:pPr eaLnBrk="1" hangingPunct="1">
                <a:defRPr/>
              </a:pPr>
              <a:endParaRPr lang="en-IN" sz="1350"/>
            </a:p>
          </p:txBody>
        </p:sp>
        <p:sp>
          <p:nvSpPr>
            <p:cNvPr id="25" name="AutoShape 421"/>
            <p:cNvSpPr>
              <a:spLocks noChangeArrowheads="1"/>
            </p:cNvSpPr>
            <p:nvPr/>
          </p:nvSpPr>
          <p:spPr bwMode="auto">
            <a:xfrm>
              <a:off x="2216165" y="4577985"/>
              <a:ext cx="140171" cy="291941"/>
            </a:xfrm>
            <a:prstGeom prst="upArrow">
              <a:avLst>
                <a:gd name="adj1" fmla="val 50000"/>
                <a:gd name="adj2" fmla="val 104536"/>
              </a:avLst>
            </a:prstGeom>
            <a:gradFill rotWithShape="0">
              <a:gsLst>
                <a:gs pos="0">
                  <a:schemeClr val="accent1">
                    <a:gamma/>
                    <a:shade val="69804"/>
                    <a:invGamma/>
                  </a:schemeClr>
                </a:gs>
                <a:gs pos="50000">
                  <a:schemeClr val="accent1"/>
                </a:gs>
                <a:gs pos="100000">
                  <a:schemeClr val="accent1">
                    <a:gamma/>
                    <a:shade val="69804"/>
                    <a:invGamma/>
                  </a:schemeClr>
                </a:gs>
              </a:gsLst>
              <a:lin ang="5400000" scaled="1"/>
            </a:gradFill>
            <a:ln w="12700">
              <a:solidFill>
                <a:schemeClr val="tx1"/>
              </a:solidFill>
              <a:miter lim="800000"/>
              <a:headEnd/>
              <a:tailEnd/>
            </a:ln>
            <a:effectLst/>
          </p:spPr>
          <p:txBody>
            <a:bodyPr wrap="none" anchor="ctr"/>
            <a:lstStyle/>
            <a:p>
              <a:pPr eaLnBrk="1" hangingPunct="1">
                <a:defRPr/>
              </a:pPr>
              <a:endParaRPr lang="en-IN" sz="1350"/>
            </a:p>
          </p:txBody>
        </p:sp>
        <p:sp>
          <p:nvSpPr>
            <p:cNvPr id="26" name="AutoShape 422"/>
            <p:cNvSpPr>
              <a:spLocks noChangeArrowheads="1"/>
            </p:cNvSpPr>
            <p:nvPr/>
          </p:nvSpPr>
          <p:spPr bwMode="auto">
            <a:xfrm>
              <a:off x="1834968" y="3891923"/>
              <a:ext cx="292308" cy="140497"/>
            </a:xfrm>
            <a:prstGeom prst="rightArrow">
              <a:avLst>
                <a:gd name="adj1" fmla="val 50000"/>
                <a:gd name="adj2" fmla="val 104555"/>
              </a:avLst>
            </a:prstGeom>
            <a:gradFill rotWithShape="0">
              <a:gsLst>
                <a:gs pos="0">
                  <a:schemeClr val="accent1">
                    <a:gamma/>
                    <a:shade val="69804"/>
                    <a:invGamma/>
                  </a:schemeClr>
                </a:gs>
                <a:gs pos="50000">
                  <a:schemeClr val="accent1"/>
                </a:gs>
                <a:gs pos="100000">
                  <a:schemeClr val="accent1">
                    <a:gamma/>
                    <a:shade val="69804"/>
                    <a:invGamma/>
                  </a:schemeClr>
                </a:gs>
              </a:gsLst>
              <a:lin ang="5400000" scaled="1"/>
            </a:gradFill>
            <a:ln w="12700">
              <a:solidFill>
                <a:schemeClr val="tx1"/>
              </a:solidFill>
              <a:miter lim="800000"/>
              <a:headEnd/>
              <a:tailEnd/>
            </a:ln>
            <a:effectLst/>
          </p:spPr>
          <p:txBody>
            <a:bodyPr wrap="none" anchor="ctr"/>
            <a:lstStyle/>
            <a:p>
              <a:pPr eaLnBrk="1" hangingPunct="1">
                <a:defRPr/>
              </a:pPr>
              <a:endParaRPr lang="en-IN" sz="1350"/>
            </a:p>
          </p:txBody>
        </p:sp>
        <p:sp>
          <p:nvSpPr>
            <p:cNvPr id="27" name="AutoShape 423"/>
            <p:cNvSpPr>
              <a:spLocks noChangeArrowheads="1"/>
            </p:cNvSpPr>
            <p:nvPr/>
          </p:nvSpPr>
          <p:spPr bwMode="auto">
            <a:xfrm>
              <a:off x="5139244" y="3891923"/>
              <a:ext cx="292307" cy="140497"/>
            </a:xfrm>
            <a:prstGeom prst="rightArrow">
              <a:avLst>
                <a:gd name="adj1" fmla="val 50000"/>
                <a:gd name="adj2" fmla="val 104555"/>
              </a:avLst>
            </a:prstGeom>
            <a:gradFill rotWithShape="0">
              <a:gsLst>
                <a:gs pos="0">
                  <a:schemeClr val="accent1">
                    <a:gamma/>
                    <a:shade val="69804"/>
                    <a:invGamma/>
                  </a:schemeClr>
                </a:gs>
                <a:gs pos="50000">
                  <a:schemeClr val="accent1"/>
                </a:gs>
                <a:gs pos="100000">
                  <a:schemeClr val="accent1">
                    <a:gamma/>
                    <a:shade val="69804"/>
                    <a:invGamma/>
                  </a:schemeClr>
                </a:gs>
              </a:gsLst>
              <a:lin ang="5400000" scaled="1"/>
            </a:gradFill>
            <a:ln w="12700">
              <a:solidFill>
                <a:schemeClr val="tx1"/>
              </a:solidFill>
              <a:miter lim="800000"/>
              <a:headEnd/>
              <a:tailEnd/>
            </a:ln>
            <a:effectLst/>
          </p:spPr>
          <p:txBody>
            <a:bodyPr wrap="none" anchor="ctr"/>
            <a:lstStyle/>
            <a:p>
              <a:pPr eaLnBrk="1" hangingPunct="1">
                <a:defRPr/>
              </a:pPr>
              <a:endParaRPr lang="en-IN" sz="1350"/>
            </a:p>
          </p:txBody>
        </p:sp>
        <p:sp>
          <p:nvSpPr>
            <p:cNvPr id="28" name="AutoShape 424"/>
            <p:cNvSpPr>
              <a:spLocks noChangeArrowheads="1"/>
            </p:cNvSpPr>
            <p:nvPr/>
          </p:nvSpPr>
          <p:spPr bwMode="auto">
            <a:xfrm>
              <a:off x="6864031" y="2578188"/>
              <a:ext cx="292308" cy="140497"/>
            </a:xfrm>
            <a:prstGeom prst="rightArrow">
              <a:avLst>
                <a:gd name="adj1" fmla="val 50000"/>
                <a:gd name="adj2" fmla="val 104555"/>
              </a:avLst>
            </a:prstGeom>
            <a:gradFill rotWithShape="0">
              <a:gsLst>
                <a:gs pos="0">
                  <a:schemeClr val="accent1">
                    <a:gamma/>
                    <a:shade val="69804"/>
                    <a:invGamma/>
                  </a:schemeClr>
                </a:gs>
                <a:gs pos="50000">
                  <a:schemeClr val="accent1"/>
                </a:gs>
                <a:gs pos="100000">
                  <a:schemeClr val="accent1">
                    <a:gamma/>
                    <a:shade val="69804"/>
                    <a:invGamma/>
                  </a:schemeClr>
                </a:gs>
              </a:gsLst>
              <a:lin ang="5400000" scaled="1"/>
            </a:gradFill>
            <a:ln w="12700">
              <a:solidFill>
                <a:schemeClr val="tx1"/>
              </a:solidFill>
              <a:miter lim="800000"/>
              <a:headEnd/>
              <a:tailEnd/>
            </a:ln>
            <a:effectLst/>
          </p:spPr>
          <p:txBody>
            <a:bodyPr wrap="none" anchor="ctr"/>
            <a:lstStyle/>
            <a:p>
              <a:pPr eaLnBrk="1" hangingPunct="1">
                <a:defRPr/>
              </a:pPr>
              <a:endParaRPr lang="en-IN" sz="1350"/>
            </a:p>
          </p:txBody>
        </p:sp>
        <p:sp>
          <p:nvSpPr>
            <p:cNvPr id="29" name="AutoShape 425"/>
            <p:cNvSpPr>
              <a:spLocks noChangeArrowheads="1"/>
            </p:cNvSpPr>
            <p:nvPr/>
          </p:nvSpPr>
          <p:spPr bwMode="auto">
            <a:xfrm>
              <a:off x="6864031" y="3891923"/>
              <a:ext cx="292308" cy="140497"/>
            </a:xfrm>
            <a:prstGeom prst="rightArrow">
              <a:avLst>
                <a:gd name="adj1" fmla="val 50000"/>
                <a:gd name="adj2" fmla="val 104555"/>
              </a:avLst>
            </a:prstGeom>
            <a:gradFill rotWithShape="0">
              <a:gsLst>
                <a:gs pos="0">
                  <a:schemeClr val="accent1">
                    <a:gamma/>
                    <a:shade val="69804"/>
                    <a:invGamma/>
                  </a:schemeClr>
                </a:gs>
                <a:gs pos="50000">
                  <a:schemeClr val="accent1"/>
                </a:gs>
                <a:gs pos="100000">
                  <a:schemeClr val="accent1">
                    <a:gamma/>
                    <a:shade val="69804"/>
                    <a:invGamma/>
                  </a:schemeClr>
                </a:gs>
              </a:gsLst>
              <a:lin ang="5400000" scaled="1"/>
            </a:gradFill>
            <a:ln w="12700">
              <a:solidFill>
                <a:schemeClr val="tx1"/>
              </a:solidFill>
              <a:miter lim="800000"/>
              <a:headEnd/>
              <a:tailEnd/>
            </a:ln>
            <a:effectLst/>
          </p:spPr>
          <p:txBody>
            <a:bodyPr wrap="none" anchor="ctr"/>
            <a:lstStyle/>
            <a:p>
              <a:pPr eaLnBrk="1" hangingPunct="1">
                <a:defRPr/>
              </a:pPr>
              <a:endParaRPr lang="en-IN" sz="1350"/>
            </a:p>
          </p:txBody>
        </p:sp>
        <p:sp>
          <p:nvSpPr>
            <p:cNvPr id="30" name="AutoShape 426"/>
            <p:cNvSpPr>
              <a:spLocks noChangeArrowheads="1"/>
            </p:cNvSpPr>
            <p:nvPr/>
          </p:nvSpPr>
          <p:spPr bwMode="auto">
            <a:xfrm>
              <a:off x="6845228" y="5380823"/>
              <a:ext cx="292307" cy="140497"/>
            </a:xfrm>
            <a:prstGeom prst="rightArrow">
              <a:avLst>
                <a:gd name="adj1" fmla="val 50000"/>
                <a:gd name="adj2" fmla="val 104555"/>
              </a:avLst>
            </a:prstGeom>
            <a:gradFill rotWithShape="0">
              <a:gsLst>
                <a:gs pos="0">
                  <a:schemeClr val="accent1">
                    <a:gamma/>
                    <a:shade val="69804"/>
                    <a:invGamma/>
                  </a:schemeClr>
                </a:gs>
                <a:gs pos="50000">
                  <a:schemeClr val="accent1"/>
                </a:gs>
                <a:gs pos="100000">
                  <a:schemeClr val="accent1">
                    <a:gamma/>
                    <a:shade val="69804"/>
                    <a:invGamma/>
                  </a:schemeClr>
                </a:gs>
              </a:gsLst>
              <a:lin ang="5400000" scaled="1"/>
            </a:gradFill>
            <a:ln w="12700">
              <a:solidFill>
                <a:schemeClr val="tx1"/>
              </a:solidFill>
              <a:miter lim="800000"/>
              <a:headEnd/>
              <a:tailEnd/>
            </a:ln>
            <a:effectLst/>
          </p:spPr>
          <p:txBody>
            <a:bodyPr wrap="none" anchor="ctr"/>
            <a:lstStyle/>
            <a:p>
              <a:pPr eaLnBrk="1" hangingPunct="1">
                <a:defRPr/>
              </a:pPr>
              <a:endParaRPr lang="en-IN" sz="1350"/>
            </a:p>
          </p:txBody>
        </p:sp>
        <p:sp>
          <p:nvSpPr>
            <p:cNvPr id="31" name="AutoShape 427"/>
            <p:cNvSpPr>
              <a:spLocks noChangeArrowheads="1"/>
            </p:cNvSpPr>
            <p:nvPr/>
          </p:nvSpPr>
          <p:spPr bwMode="auto">
            <a:xfrm>
              <a:off x="2332404" y="3548892"/>
              <a:ext cx="1129915" cy="870350"/>
            </a:xfrm>
            <a:prstGeom prst="homePlate">
              <a:avLst>
                <a:gd name="adj" fmla="val 43230"/>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1" hangingPunct="1">
                <a:defRPr/>
              </a:pPr>
              <a:endParaRPr lang="en-IN" sz="1350"/>
            </a:p>
          </p:txBody>
        </p:sp>
        <p:sp>
          <p:nvSpPr>
            <p:cNvPr id="32" name="Rectangle 428"/>
            <p:cNvSpPr>
              <a:spLocks noChangeArrowheads="1"/>
            </p:cNvSpPr>
            <p:nvPr/>
          </p:nvSpPr>
          <p:spPr bwMode="auto">
            <a:xfrm>
              <a:off x="2286250" y="3658371"/>
              <a:ext cx="1068377" cy="65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nSpc>
                  <a:spcPct val="60000"/>
                </a:lnSpc>
                <a:spcBef>
                  <a:spcPct val="50000"/>
                </a:spcBef>
                <a:defRPr/>
              </a:pPr>
              <a:r>
                <a:rPr kumimoji="1" lang="en-US" altLang="en-US" sz="825" b="0">
                  <a:ln w="0"/>
                  <a:effectLst>
                    <a:outerShdw blurRad="38100" dist="19050" dir="2700000" algn="tl" rotWithShape="0">
                      <a:schemeClr val="dk1">
                        <a:alpha val="40000"/>
                      </a:schemeClr>
                    </a:outerShdw>
                  </a:effectLst>
                  <a:latin typeface="+mn-lt"/>
                </a:rPr>
                <a:t>Extract</a:t>
              </a:r>
            </a:p>
            <a:p>
              <a:pPr>
                <a:lnSpc>
                  <a:spcPct val="60000"/>
                </a:lnSpc>
                <a:spcBef>
                  <a:spcPct val="50000"/>
                </a:spcBef>
                <a:defRPr/>
              </a:pPr>
              <a:r>
                <a:rPr kumimoji="1" lang="en-US" altLang="en-US" sz="825" b="0">
                  <a:ln w="0"/>
                  <a:effectLst>
                    <a:outerShdw blurRad="38100" dist="19050" dir="2700000" algn="tl" rotWithShape="0">
                      <a:schemeClr val="dk1">
                        <a:alpha val="40000"/>
                      </a:schemeClr>
                    </a:outerShdw>
                  </a:effectLst>
                  <a:latin typeface="+mn-lt"/>
                </a:rPr>
                <a:t>Transform</a:t>
              </a:r>
            </a:p>
            <a:p>
              <a:pPr>
                <a:lnSpc>
                  <a:spcPct val="60000"/>
                </a:lnSpc>
                <a:spcBef>
                  <a:spcPct val="50000"/>
                </a:spcBef>
                <a:defRPr/>
              </a:pPr>
              <a:r>
                <a:rPr kumimoji="1" lang="en-US" altLang="en-US" sz="825" b="0">
                  <a:ln w="0"/>
                  <a:effectLst>
                    <a:outerShdw blurRad="38100" dist="19050" dir="2700000" algn="tl" rotWithShape="0">
                      <a:schemeClr val="dk1">
                        <a:alpha val="40000"/>
                      </a:schemeClr>
                    </a:outerShdw>
                  </a:effectLst>
                  <a:latin typeface="+mn-lt"/>
                </a:rPr>
                <a:t>Load</a:t>
              </a:r>
            </a:p>
          </p:txBody>
        </p:sp>
        <p:sp>
          <p:nvSpPr>
            <p:cNvPr id="33" name="Line 429"/>
            <p:cNvSpPr>
              <a:spLocks noChangeShapeType="1"/>
            </p:cNvSpPr>
            <p:nvPr/>
          </p:nvSpPr>
          <p:spPr bwMode="auto">
            <a:xfrm>
              <a:off x="5241925" y="2017713"/>
              <a:ext cx="15875" cy="4678362"/>
            </a:xfrm>
            <a:prstGeom prst="line">
              <a:avLst/>
            </a:prstGeom>
            <a:noFill/>
            <a:ln w="12700">
              <a:solidFill>
                <a:schemeClr val="tx1"/>
              </a:solidFill>
              <a:prstDash val="lgDashDot"/>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sz="1350"/>
            </a:p>
          </p:txBody>
        </p:sp>
        <p:sp>
          <p:nvSpPr>
            <p:cNvPr id="34" name="Text Box 435"/>
            <p:cNvSpPr txBox="1">
              <a:spLocks noChangeArrowheads="1"/>
            </p:cNvSpPr>
            <p:nvPr/>
          </p:nvSpPr>
          <p:spPr bwMode="auto">
            <a:xfrm>
              <a:off x="633927" y="6733110"/>
              <a:ext cx="4548186" cy="707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spcBef>
                  <a:spcPct val="50000"/>
                </a:spcBef>
              </a:pPr>
              <a:r>
                <a:rPr kumimoji="1" lang="en-US" altLang="en-US" sz="1200">
                  <a:latin typeface="+mn-lt"/>
                </a:rPr>
                <a:t>Asset Assembly (and Management)</a:t>
              </a:r>
            </a:p>
          </p:txBody>
        </p:sp>
        <p:grpSp>
          <p:nvGrpSpPr>
            <p:cNvPr id="35" name="Group 446"/>
            <p:cNvGrpSpPr>
              <a:grpSpLocks/>
            </p:cNvGrpSpPr>
            <p:nvPr/>
          </p:nvGrpSpPr>
          <p:grpSpPr bwMode="auto">
            <a:xfrm>
              <a:off x="5794375" y="3651252"/>
              <a:ext cx="684213" cy="573088"/>
              <a:chOff x="3451" y="1306"/>
              <a:chExt cx="431" cy="361"/>
            </a:xfrm>
          </p:grpSpPr>
          <p:grpSp>
            <p:nvGrpSpPr>
              <p:cNvPr id="64" name="Group 449"/>
              <p:cNvGrpSpPr>
                <a:grpSpLocks/>
              </p:cNvGrpSpPr>
              <p:nvPr/>
            </p:nvGrpSpPr>
            <p:grpSpPr bwMode="auto">
              <a:xfrm>
                <a:off x="3475" y="1306"/>
                <a:ext cx="401" cy="360"/>
                <a:chOff x="3475" y="1306"/>
                <a:chExt cx="401" cy="360"/>
              </a:xfrm>
            </p:grpSpPr>
            <p:grpSp>
              <p:nvGrpSpPr>
                <p:cNvPr id="66" name="Group 450"/>
                <p:cNvGrpSpPr>
                  <a:grpSpLocks/>
                </p:cNvGrpSpPr>
                <p:nvPr/>
              </p:nvGrpSpPr>
              <p:grpSpPr bwMode="auto">
                <a:xfrm>
                  <a:off x="3475" y="1356"/>
                  <a:ext cx="401" cy="310"/>
                  <a:chOff x="3475" y="1356"/>
                  <a:chExt cx="401" cy="310"/>
                </a:xfrm>
              </p:grpSpPr>
              <p:sp>
                <p:nvSpPr>
                  <p:cNvPr id="68" name="Oval 451"/>
                  <p:cNvSpPr>
                    <a:spLocks noChangeArrowheads="1"/>
                  </p:cNvSpPr>
                  <p:nvPr/>
                </p:nvSpPr>
                <p:spPr bwMode="auto">
                  <a:xfrm>
                    <a:off x="3475" y="1566"/>
                    <a:ext cx="401" cy="100"/>
                  </a:xfrm>
                  <a:prstGeom prst="ellipse">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sp>
                <p:nvSpPr>
                  <p:cNvPr id="69" name="Rectangle 452"/>
                  <p:cNvSpPr>
                    <a:spLocks noChangeArrowheads="1"/>
                  </p:cNvSpPr>
                  <p:nvPr/>
                </p:nvSpPr>
                <p:spPr bwMode="auto">
                  <a:xfrm>
                    <a:off x="3475" y="1353"/>
                    <a:ext cx="401" cy="262"/>
                  </a:xfrm>
                  <a:prstGeom prst="rect">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grpSp>
            <p:sp>
              <p:nvSpPr>
                <p:cNvPr id="67" name="Oval 453"/>
                <p:cNvSpPr>
                  <a:spLocks noChangeArrowheads="1"/>
                </p:cNvSpPr>
                <p:nvPr/>
              </p:nvSpPr>
              <p:spPr bwMode="auto">
                <a:xfrm>
                  <a:off x="3475" y="1306"/>
                  <a:ext cx="401" cy="100"/>
                </a:xfrm>
                <a:prstGeom prst="ellipse">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grpSp>
          <p:sp>
            <p:nvSpPr>
              <p:cNvPr id="65" name="Rectangle 454"/>
              <p:cNvSpPr>
                <a:spLocks noChangeArrowheads="1"/>
              </p:cNvSpPr>
              <p:nvPr/>
            </p:nvSpPr>
            <p:spPr bwMode="auto">
              <a:xfrm>
                <a:off x="3451" y="1355"/>
                <a:ext cx="431" cy="31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69056" tIns="34529" rIns="69056" bIns="34529">
                <a:spAutoFit/>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defRPr/>
                </a:pPr>
                <a:r>
                  <a:rPr kumimoji="1" lang="en-US" altLang="en-US" sz="825">
                    <a:latin typeface="+mn-lt"/>
                  </a:rPr>
                  <a:t>Data Mart</a:t>
                </a:r>
              </a:p>
            </p:txBody>
          </p:sp>
        </p:grpSp>
        <p:sp>
          <p:nvSpPr>
            <p:cNvPr id="36" name="Rectangle 455"/>
            <p:cNvSpPr>
              <a:spLocks noChangeArrowheads="1"/>
            </p:cNvSpPr>
            <p:nvPr/>
          </p:nvSpPr>
          <p:spPr bwMode="auto">
            <a:xfrm>
              <a:off x="5139245" y="6024694"/>
              <a:ext cx="2057400" cy="60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spcBef>
                  <a:spcPct val="50000"/>
                </a:spcBef>
              </a:pPr>
              <a:r>
                <a:rPr kumimoji="1" lang="en-US" altLang="en-US" sz="1050">
                  <a:latin typeface="+mn-lt"/>
                </a:rPr>
                <a:t>Departmentally structured</a:t>
              </a:r>
              <a:endParaRPr kumimoji="1" lang="en-US" altLang="en-US" sz="1050" b="0">
                <a:latin typeface="+mn-lt"/>
              </a:endParaRPr>
            </a:p>
          </p:txBody>
        </p:sp>
        <p:sp>
          <p:nvSpPr>
            <p:cNvPr id="37" name="Text Box 465"/>
            <p:cNvSpPr txBox="1">
              <a:spLocks noChangeArrowheads="1"/>
            </p:cNvSpPr>
            <p:nvPr/>
          </p:nvSpPr>
          <p:spPr bwMode="auto">
            <a:xfrm>
              <a:off x="5522129" y="1955800"/>
              <a:ext cx="930251" cy="38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spcBef>
                  <a:spcPct val="20000"/>
                </a:spcBef>
              </a:pPr>
              <a:r>
                <a:rPr lang="en-US" altLang="en-US" sz="1350" b="0">
                  <a:latin typeface="+mn-lt"/>
                </a:rPr>
                <a:t>Sales</a:t>
              </a:r>
              <a:endParaRPr lang="en-US" altLang="en-US" sz="2250" b="0">
                <a:latin typeface="+mn-lt"/>
              </a:endParaRPr>
            </a:p>
          </p:txBody>
        </p:sp>
        <p:sp>
          <p:nvSpPr>
            <p:cNvPr id="38" name="Text Box 466"/>
            <p:cNvSpPr txBox="1">
              <a:spLocks noChangeArrowheads="1"/>
            </p:cNvSpPr>
            <p:nvPr/>
          </p:nvSpPr>
          <p:spPr bwMode="auto">
            <a:xfrm>
              <a:off x="5351801" y="3327400"/>
              <a:ext cx="1475697" cy="38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spcBef>
                  <a:spcPct val="20000"/>
                </a:spcBef>
              </a:pPr>
              <a:r>
                <a:rPr lang="en-US" altLang="en-US" sz="1350" b="0">
                  <a:latin typeface="+mn-lt"/>
                </a:rPr>
                <a:t>Inventory</a:t>
              </a:r>
              <a:endParaRPr lang="en-US" altLang="en-US" sz="2250" b="0">
                <a:latin typeface="+mn-lt"/>
              </a:endParaRPr>
            </a:p>
          </p:txBody>
        </p:sp>
        <p:sp>
          <p:nvSpPr>
            <p:cNvPr id="39" name="Text Box 467"/>
            <p:cNvSpPr txBox="1">
              <a:spLocks noChangeArrowheads="1"/>
            </p:cNvSpPr>
            <p:nvPr/>
          </p:nvSpPr>
          <p:spPr bwMode="auto">
            <a:xfrm>
              <a:off x="5335204" y="4592638"/>
              <a:ext cx="1388243" cy="38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t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spcBef>
                  <a:spcPct val="20000"/>
                </a:spcBef>
              </a:pPr>
              <a:r>
                <a:rPr lang="en-US" altLang="en-US" sz="1350" b="0">
                  <a:latin typeface="+mn-lt"/>
                </a:rPr>
                <a:t>Purchase</a:t>
              </a:r>
              <a:endParaRPr lang="en-US" altLang="en-US" sz="2250" b="0">
                <a:latin typeface="+mn-lt"/>
              </a:endParaRPr>
            </a:p>
          </p:txBody>
        </p:sp>
        <p:grpSp>
          <p:nvGrpSpPr>
            <p:cNvPr id="40" name="Group 411"/>
            <p:cNvGrpSpPr>
              <a:grpSpLocks/>
            </p:cNvGrpSpPr>
            <p:nvPr/>
          </p:nvGrpSpPr>
          <p:grpSpPr bwMode="auto">
            <a:xfrm>
              <a:off x="3690938" y="2444750"/>
              <a:ext cx="1213184" cy="815975"/>
              <a:chOff x="2129" y="1972"/>
              <a:chExt cx="980" cy="848"/>
            </a:xfrm>
          </p:grpSpPr>
          <p:grpSp>
            <p:nvGrpSpPr>
              <p:cNvPr id="58" name="Group 413"/>
              <p:cNvGrpSpPr>
                <a:grpSpLocks/>
              </p:cNvGrpSpPr>
              <p:nvPr/>
            </p:nvGrpSpPr>
            <p:grpSpPr bwMode="auto">
              <a:xfrm>
                <a:off x="2129" y="1972"/>
                <a:ext cx="931" cy="848"/>
                <a:chOff x="2129" y="1972"/>
                <a:chExt cx="931" cy="848"/>
              </a:xfrm>
            </p:grpSpPr>
            <p:grpSp>
              <p:nvGrpSpPr>
                <p:cNvPr id="60" name="Group 414"/>
                <p:cNvGrpSpPr>
                  <a:grpSpLocks/>
                </p:cNvGrpSpPr>
                <p:nvPr/>
              </p:nvGrpSpPr>
              <p:grpSpPr bwMode="auto">
                <a:xfrm>
                  <a:off x="2129" y="2094"/>
                  <a:ext cx="931" cy="726"/>
                  <a:chOff x="2129" y="2094"/>
                  <a:chExt cx="931" cy="726"/>
                </a:xfrm>
              </p:grpSpPr>
              <p:sp>
                <p:nvSpPr>
                  <p:cNvPr id="62" name="Oval 415"/>
                  <p:cNvSpPr>
                    <a:spLocks noChangeArrowheads="1"/>
                  </p:cNvSpPr>
                  <p:nvPr/>
                </p:nvSpPr>
                <p:spPr bwMode="auto">
                  <a:xfrm>
                    <a:off x="2129" y="2585"/>
                    <a:ext cx="931" cy="235"/>
                  </a:xfrm>
                  <a:prstGeom prst="ellipse">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sp>
                <p:nvSpPr>
                  <p:cNvPr id="63" name="Rectangle 416"/>
                  <p:cNvSpPr>
                    <a:spLocks noChangeArrowheads="1"/>
                  </p:cNvSpPr>
                  <p:nvPr/>
                </p:nvSpPr>
                <p:spPr bwMode="auto">
                  <a:xfrm>
                    <a:off x="2129" y="2094"/>
                    <a:ext cx="931" cy="612"/>
                  </a:xfrm>
                  <a:prstGeom prst="rect">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grpSp>
            <p:sp>
              <p:nvSpPr>
                <p:cNvPr id="61" name="Oval 417"/>
                <p:cNvSpPr>
                  <a:spLocks noChangeArrowheads="1"/>
                </p:cNvSpPr>
                <p:nvPr/>
              </p:nvSpPr>
              <p:spPr bwMode="auto">
                <a:xfrm>
                  <a:off x="2129" y="1972"/>
                  <a:ext cx="931" cy="235"/>
                </a:xfrm>
                <a:prstGeom prst="ellipse">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grpSp>
          <p:sp>
            <p:nvSpPr>
              <p:cNvPr id="59" name="Rectangle 418"/>
              <p:cNvSpPr>
                <a:spLocks noChangeArrowheads="1"/>
              </p:cNvSpPr>
              <p:nvPr/>
            </p:nvSpPr>
            <p:spPr bwMode="auto">
              <a:xfrm>
                <a:off x="2131" y="2223"/>
                <a:ext cx="978" cy="368"/>
              </a:xfrm>
              <a:prstGeom prst="rect">
                <a:avLst/>
              </a:prstGeom>
              <a:ln>
                <a:noFill/>
              </a:ln>
            </p:spPr>
            <p:style>
              <a:lnRef idx="2">
                <a:schemeClr val="accent1"/>
              </a:lnRef>
              <a:fillRef idx="1">
                <a:schemeClr val="lt1"/>
              </a:fillRef>
              <a:effectRef idx="0">
                <a:schemeClr val="accent1"/>
              </a:effectRef>
              <a:fontRef idx="minor">
                <a:schemeClr val="dk1"/>
              </a:fontRef>
            </p:style>
            <p:txBody>
              <a:bodyPr wrap="none" lIns="69056" tIns="34529" rIns="69056" bIns="34529">
                <a:spAutoFit/>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defRPr/>
                </a:pPr>
                <a:r>
                  <a:rPr kumimoji="1" lang="en-US" altLang="en-US" sz="1050" dirty="0">
                    <a:latin typeface="+mn-lt"/>
                  </a:rPr>
                  <a:t>Metadata</a:t>
                </a:r>
              </a:p>
            </p:txBody>
          </p:sp>
        </p:grpSp>
        <p:grpSp>
          <p:nvGrpSpPr>
            <p:cNvPr id="41" name="Group 446"/>
            <p:cNvGrpSpPr>
              <a:grpSpLocks/>
            </p:cNvGrpSpPr>
            <p:nvPr/>
          </p:nvGrpSpPr>
          <p:grpSpPr bwMode="auto">
            <a:xfrm>
              <a:off x="5794375" y="2378075"/>
              <a:ext cx="684213" cy="571500"/>
              <a:chOff x="3451" y="1306"/>
              <a:chExt cx="431" cy="360"/>
            </a:xfrm>
          </p:grpSpPr>
          <p:grpSp>
            <p:nvGrpSpPr>
              <p:cNvPr id="52" name="Group 449"/>
              <p:cNvGrpSpPr>
                <a:grpSpLocks/>
              </p:cNvGrpSpPr>
              <p:nvPr/>
            </p:nvGrpSpPr>
            <p:grpSpPr bwMode="auto">
              <a:xfrm>
                <a:off x="3475" y="1306"/>
                <a:ext cx="401" cy="360"/>
                <a:chOff x="3475" y="1306"/>
                <a:chExt cx="401" cy="360"/>
              </a:xfrm>
            </p:grpSpPr>
            <p:grpSp>
              <p:nvGrpSpPr>
                <p:cNvPr id="54" name="Group 450"/>
                <p:cNvGrpSpPr>
                  <a:grpSpLocks/>
                </p:cNvGrpSpPr>
                <p:nvPr/>
              </p:nvGrpSpPr>
              <p:grpSpPr bwMode="auto">
                <a:xfrm>
                  <a:off x="3475" y="1356"/>
                  <a:ext cx="401" cy="310"/>
                  <a:chOff x="3475" y="1356"/>
                  <a:chExt cx="401" cy="310"/>
                </a:xfrm>
              </p:grpSpPr>
              <p:sp>
                <p:nvSpPr>
                  <p:cNvPr id="56" name="Oval 451"/>
                  <p:cNvSpPr>
                    <a:spLocks noChangeArrowheads="1"/>
                  </p:cNvSpPr>
                  <p:nvPr/>
                </p:nvSpPr>
                <p:spPr bwMode="auto">
                  <a:xfrm>
                    <a:off x="3475" y="1569"/>
                    <a:ext cx="401" cy="100"/>
                  </a:xfrm>
                  <a:prstGeom prst="ellipse">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sp>
                <p:nvSpPr>
                  <p:cNvPr id="57" name="Rectangle 452"/>
                  <p:cNvSpPr>
                    <a:spLocks noChangeArrowheads="1"/>
                  </p:cNvSpPr>
                  <p:nvPr/>
                </p:nvSpPr>
                <p:spPr bwMode="auto">
                  <a:xfrm>
                    <a:off x="3475" y="1356"/>
                    <a:ext cx="401" cy="262"/>
                  </a:xfrm>
                  <a:prstGeom prst="rect">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grpSp>
            <p:sp>
              <p:nvSpPr>
                <p:cNvPr id="55" name="Oval 453"/>
                <p:cNvSpPr>
                  <a:spLocks noChangeArrowheads="1"/>
                </p:cNvSpPr>
                <p:nvPr/>
              </p:nvSpPr>
              <p:spPr bwMode="auto">
                <a:xfrm>
                  <a:off x="3475" y="1306"/>
                  <a:ext cx="401" cy="100"/>
                </a:xfrm>
                <a:prstGeom prst="ellipse">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grpSp>
          <p:sp>
            <p:nvSpPr>
              <p:cNvPr id="53" name="Rectangle 454"/>
              <p:cNvSpPr>
                <a:spLocks noChangeArrowheads="1"/>
              </p:cNvSpPr>
              <p:nvPr/>
            </p:nvSpPr>
            <p:spPr bwMode="auto">
              <a:xfrm>
                <a:off x="3451" y="1346"/>
                <a:ext cx="431" cy="31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69056" tIns="34529" rIns="69056" bIns="34529">
                <a:spAutoFit/>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defRPr/>
                </a:pPr>
                <a:r>
                  <a:rPr kumimoji="1" lang="en-US" altLang="en-US" sz="825">
                    <a:latin typeface="+mn-lt"/>
                  </a:rPr>
                  <a:t>Data Mart</a:t>
                </a:r>
              </a:p>
            </p:txBody>
          </p:sp>
        </p:grpSp>
        <p:grpSp>
          <p:nvGrpSpPr>
            <p:cNvPr id="42" name="Group 446"/>
            <p:cNvGrpSpPr>
              <a:grpSpLocks/>
            </p:cNvGrpSpPr>
            <p:nvPr/>
          </p:nvGrpSpPr>
          <p:grpSpPr bwMode="auto">
            <a:xfrm>
              <a:off x="5805487" y="5121277"/>
              <a:ext cx="684213" cy="585788"/>
              <a:chOff x="3460" y="1306"/>
              <a:chExt cx="431" cy="369"/>
            </a:xfrm>
          </p:grpSpPr>
          <p:grpSp>
            <p:nvGrpSpPr>
              <p:cNvPr id="46" name="Group 449"/>
              <p:cNvGrpSpPr>
                <a:grpSpLocks/>
              </p:cNvGrpSpPr>
              <p:nvPr/>
            </p:nvGrpSpPr>
            <p:grpSpPr bwMode="auto">
              <a:xfrm>
                <a:off x="3475" y="1306"/>
                <a:ext cx="401" cy="360"/>
                <a:chOff x="3475" y="1306"/>
                <a:chExt cx="401" cy="360"/>
              </a:xfrm>
            </p:grpSpPr>
            <p:grpSp>
              <p:nvGrpSpPr>
                <p:cNvPr id="48" name="Group 450"/>
                <p:cNvGrpSpPr>
                  <a:grpSpLocks/>
                </p:cNvGrpSpPr>
                <p:nvPr/>
              </p:nvGrpSpPr>
              <p:grpSpPr bwMode="auto">
                <a:xfrm>
                  <a:off x="3475" y="1356"/>
                  <a:ext cx="401" cy="310"/>
                  <a:chOff x="3475" y="1356"/>
                  <a:chExt cx="401" cy="310"/>
                </a:xfrm>
              </p:grpSpPr>
              <p:sp>
                <p:nvSpPr>
                  <p:cNvPr id="50" name="Oval 451"/>
                  <p:cNvSpPr>
                    <a:spLocks noChangeArrowheads="1"/>
                  </p:cNvSpPr>
                  <p:nvPr/>
                </p:nvSpPr>
                <p:spPr bwMode="auto">
                  <a:xfrm>
                    <a:off x="3475" y="1566"/>
                    <a:ext cx="401" cy="100"/>
                  </a:xfrm>
                  <a:prstGeom prst="ellipse">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sp>
                <p:nvSpPr>
                  <p:cNvPr id="51" name="Rectangle 452"/>
                  <p:cNvSpPr>
                    <a:spLocks noChangeArrowheads="1"/>
                  </p:cNvSpPr>
                  <p:nvPr/>
                </p:nvSpPr>
                <p:spPr bwMode="auto">
                  <a:xfrm>
                    <a:off x="3475" y="1356"/>
                    <a:ext cx="401" cy="262"/>
                  </a:xfrm>
                  <a:prstGeom prst="rect">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grpSp>
            <p:sp>
              <p:nvSpPr>
                <p:cNvPr id="49" name="Oval 453"/>
                <p:cNvSpPr>
                  <a:spLocks noChangeArrowheads="1"/>
                </p:cNvSpPr>
                <p:nvPr/>
              </p:nvSpPr>
              <p:spPr bwMode="auto">
                <a:xfrm>
                  <a:off x="3475" y="1306"/>
                  <a:ext cx="401" cy="100"/>
                </a:xfrm>
                <a:prstGeom prst="ellipse">
                  <a:avLst/>
                </a:prstGeom>
                <a:ln/>
              </p:spPr>
              <p:style>
                <a:lnRef idx="2">
                  <a:schemeClr val="accent1"/>
                </a:lnRef>
                <a:fillRef idx="1">
                  <a:schemeClr val="lt1"/>
                </a:fillRef>
                <a:effectRef idx="0">
                  <a:schemeClr val="accent1"/>
                </a:effectRef>
                <a:fontRef idx="minor">
                  <a:schemeClr val="dk1"/>
                </a:fontRef>
              </p:style>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latin typeface="+mn-lt"/>
                  </a:endParaRPr>
                </a:p>
              </p:txBody>
            </p:sp>
          </p:grpSp>
          <p:sp>
            <p:nvSpPr>
              <p:cNvPr id="47" name="Rectangle 454"/>
              <p:cNvSpPr>
                <a:spLocks noChangeArrowheads="1"/>
              </p:cNvSpPr>
              <p:nvPr/>
            </p:nvSpPr>
            <p:spPr bwMode="auto">
              <a:xfrm>
                <a:off x="3460" y="1363"/>
                <a:ext cx="431" cy="31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69056" tIns="34529" rIns="69056" bIns="34529">
                <a:spAutoFit/>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defRPr/>
                </a:pPr>
                <a:r>
                  <a:rPr kumimoji="1" lang="en-US" altLang="en-US" sz="825">
                    <a:latin typeface="+mn-lt"/>
                  </a:rPr>
                  <a:t>Data Mart</a:t>
                </a:r>
              </a:p>
            </p:txBody>
          </p:sp>
        </p:grpSp>
        <p:sp>
          <p:nvSpPr>
            <p:cNvPr id="43" name="Freeform 420"/>
            <p:cNvSpPr>
              <a:spLocks noChangeAspect="1" noEditPoints="1"/>
            </p:cNvSpPr>
            <p:nvPr/>
          </p:nvSpPr>
          <p:spPr bwMode="auto">
            <a:xfrm>
              <a:off x="8204203" y="2111083"/>
              <a:ext cx="897437" cy="895895"/>
            </a:xfrm>
            <a:custGeom>
              <a:avLst/>
              <a:gdLst>
                <a:gd name="T0" fmla="*/ 117 w 512"/>
                <a:gd name="T1" fmla="*/ 170 h 512"/>
                <a:gd name="T2" fmla="*/ 394 w 512"/>
                <a:gd name="T3" fmla="*/ 170 h 512"/>
                <a:gd name="T4" fmla="*/ 394 w 512"/>
                <a:gd name="T5" fmla="*/ 341 h 512"/>
                <a:gd name="T6" fmla="*/ 117 w 512"/>
                <a:gd name="T7" fmla="*/ 341 h 512"/>
                <a:gd name="T8" fmla="*/ 117 w 512"/>
                <a:gd name="T9" fmla="*/ 17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160 h 512"/>
                <a:gd name="T22" fmla="*/ 405 w 512"/>
                <a:gd name="T23" fmla="*/ 149 h 512"/>
                <a:gd name="T24" fmla="*/ 106 w 512"/>
                <a:gd name="T25" fmla="*/ 149 h 512"/>
                <a:gd name="T26" fmla="*/ 96 w 512"/>
                <a:gd name="T27" fmla="*/ 160 h 512"/>
                <a:gd name="T28" fmla="*/ 96 w 512"/>
                <a:gd name="T29" fmla="*/ 352 h 512"/>
                <a:gd name="T30" fmla="*/ 106 w 512"/>
                <a:gd name="T31" fmla="*/ 362 h 512"/>
                <a:gd name="T32" fmla="*/ 192 w 512"/>
                <a:gd name="T33" fmla="*/ 362 h 512"/>
                <a:gd name="T34" fmla="*/ 181 w 512"/>
                <a:gd name="T35" fmla="*/ 373 h 512"/>
                <a:gd name="T36" fmla="*/ 192 w 512"/>
                <a:gd name="T37" fmla="*/ 384 h 512"/>
                <a:gd name="T38" fmla="*/ 320 w 512"/>
                <a:gd name="T39" fmla="*/ 384 h 512"/>
                <a:gd name="T40" fmla="*/ 330 w 512"/>
                <a:gd name="T41" fmla="*/ 373 h 512"/>
                <a:gd name="T42" fmla="*/ 320 w 512"/>
                <a:gd name="T43" fmla="*/ 362 h 512"/>
                <a:gd name="T44" fmla="*/ 405 w 512"/>
                <a:gd name="T45" fmla="*/ 362 h 512"/>
                <a:gd name="T46" fmla="*/ 416 w 512"/>
                <a:gd name="T47" fmla="*/ 352 h 512"/>
                <a:gd name="T48" fmla="*/ 416 w 512"/>
                <a:gd name="T4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17" y="170"/>
                  </a:moveTo>
                  <a:cubicBezTo>
                    <a:pt x="394" y="170"/>
                    <a:pt x="394" y="170"/>
                    <a:pt x="394" y="170"/>
                  </a:cubicBezTo>
                  <a:cubicBezTo>
                    <a:pt x="394" y="341"/>
                    <a:pt x="394" y="341"/>
                    <a:pt x="394" y="341"/>
                  </a:cubicBezTo>
                  <a:cubicBezTo>
                    <a:pt x="117" y="341"/>
                    <a:pt x="117" y="341"/>
                    <a:pt x="117" y="341"/>
                  </a:cubicBezTo>
                  <a:lnTo>
                    <a:pt x="117"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4"/>
                    <a:pt x="411" y="149"/>
                    <a:pt x="405" y="149"/>
                  </a:cubicBezTo>
                  <a:cubicBezTo>
                    <a:pt x="106" y="149"/>
                    <a:pt x="106" y="149"/>
                    <a:pt x="106" y="149"/>
                  </a:cubicBezTo>
                  <a:cubicBezTo>
                    <a:pt x="100" y="149"/>
                    <a:pt x="96" y="154"/>
                    <a:pt x="96" y="160"/>
                  </a:cubicBezTo>
                  <a:cubicBezTo>
                    <a:pt x="96" y="352"/>
                    <a:pt x="96" y="352"/>
                    <a:pt x="96" y="352"/>
                  </a:cubicBezTo>
                  <a:cubicBezTo>
                    <a:pt x="96" y="358"/>
                    <a:pt x="100" y="362"/>
                    <a:pt x="106" y="362"/>
                  </a:cubicBezTo>
                  <a:cubicBezTo>
                    <a:pt x="192" y="362"/>
                    <a:pt x="192" y="362"/>
                    <a:pt x="192" y="362"/>
                  </a:cubicBezTo>
                  <a:cubicBezTo>
                    <a:pt x="186" y="362"/>
                    <a:pt x="181" y="367"/>
                    <a:pt x="181" y="373"/>
                  </a:cubicBezTo>
                  <a:cubicBezTo>
                    <a:pt x="181" y="379"/>
                    <a:pt x="186" y="384"/>
                    <a:pt x="192" y="384"/>
                  </a:cubicBezTo>
                  <a:cubicBezTo>
                    <a:pt x="320" y="384"/>
                    <a:pt x="320" y="384"/>
                    <a:pt x="320" y="384"/>
                  </a:cubicBezTo>
                  <a:cubicBezTo>
                    <a:pt x="326" y="384"/>
                    <a:pt x="330" y="379"/>
                    <a:pt x="330" y="373"/>
                  </a:cubicBezTo>
                  <a:cubicBezTo>
                    <a:pt x="330" y="367"/>
                    <a:pt x="326" y="362"/>
                    <a:pt x="320" y="362"/>
                  </a:cubicBezTo>
                  <a:cubicBezTo>
                    <a:pt x="405" y="362"/>
                    <a:pt x="405" y="362"/>
                    <a:pt x="405" y="362"/>
                  </a:cubicBezTo>
                  <a:cubicBezTo>
                    <a:pt x="411" y="362"/>
                    <a:pt x="416" y="358"/>
                    <a:pt x="416" y="352"/>
                  </a:cubicBezTo>
                  <a:lnTo>
                    <a:pt x="416" y="160"/>
                  </a:lnTo>
                  <a:close/>
                </a:path>
              </a:pathLst>
            </a:custGeom>
            <a:solidFill>
              <a:schemeClr val="tx1"/>
            </a:solidFill>
            <a:ln>
              <a:noFill/>
            </a:ln>
          </p:spPr>
          <p:txBody>
            <a:bodyPr/>
            <a:lstStyle/>
            <a:p>
              <a:pPr eaLnBrk="1" hangingPunct="1">
                <a:defRPr/>
              </a:pPr>
              <a:endParaRPr lang="en-GB" sz="1350"/>
            </a:p>
          </p:txBody>
        </p:sp>
        <p:sp>
          <p:nvSpPr>
            <p:cNvPr id="44" name="Freeform 420"/>
            <p:cNvSpPr>
              <a:spLocks noChangeAspect="1" noEditPoints="1"/>
            </p:cNvSpPr>
            <p:nvPr/>
          </p:nvSpPr>
          <p:spPr bwMode="auto">
            <a:xfrm>
              <a:off x="8214459" y="3519698"/>
              <a:ext cx="894018" cy="895895"/>
            </a:xfrm>
            <a:custGeom>
              <a:avLst/>
              <a:gdLst>
                <a:gd name="T0" fmla="*/ 117 w 512"/>
                <a:gd name="T1" fmla="*/ 170 h 512"/>
                <a:gd name="T2" fmla="*/ 394 w 512"/>
                <a:gd name="T3" fmla="*/ 170 h 512"/>
                <a:gd name="T4" fmla="*/ 394 w 512"/>
                <a:gd name="T5" fmla="*/ 341 h 512"/>
                <a:gd name="T6" fmla="*/ 117 w 512"/>
                <a:gd name="T7" fmla="*/ 341 h 512"/>
                <a:gd name="T8" fmla="*/ 117 w 512"/>
                <a:gd name="T9" fmla="*/ 17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160 h 512"/>
                <a:gd name="T22" fmla="*/ 405 w 512"/>
                <a:gd name="T23" fmla="*/ 149 h 512"/>
                <a:gd name="T24" fmla="*/ 106 w 512"/>
                <a:gd name="T25" fmla="*/ 149 h 512"/>
                <a:gd name="T26" fmla="*/ 96 w 512"/>
                <a:gd name="T27" fmla="*/ 160 h 512"/>
                <a:gd name="T28" fmla="*/ 96 w 512"/>
                <a:gd name="T29" fmla="*/ 352 h 512"/>
                <a:gd name="T30" fmla="*/ 106 w 512"/>
                <a:gd name="T31" fmla="*/ 362 h 512"/>
                <a:gd name="T32" fmla="*/ 192 w 512"/>
                <a:gd name="T33" fmla="*/ 362 h 512"/>
                <a:gd name="T34" fmla="*/ 181 w 512"/>
                <a:gd name="T35" fmla="*/ 373 h 512"/>
                <a:gd name="T36" fmla="*/ 192 w 512"/>
                <a:gd name="T37" fmla="*/ 384 h 512"/>
                <a:gd name="T38" fmla="*/ 320 w 512"/>
                <a:gd name="T39" fmla="*/ 384 h 512"/>
                <a:gd name="T40" fmla="*/ 330 w 512"/>
                <a:gd name="T41" fmla="*/ 373 h 512"/>
                <a:gd name="T42" fmla="*/ 320 w 512"/>
                <a:gd name="T43" fmla="*/ 362 h 512"/>
                <a:gd name="T44" fmla="*/ 405 w 512"/>
                <a:gd name="T45" fmla="*/ 362 h 512"/>
                <a:gd name="T46" fmla="*/ 416 w 512"/>
                <a:gd name="T47" fmla="*/ 352 h 512"/>
                <a:gd name="T48" fmla="*/ 416 w 512"/>
                <a:gd name="T4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17" y="170"/>
                  </a:moveTo>
                  <a:cubicBezTo>
                    <a:pt x="394" y="170"/>
                    <a:pt x="394" y="170"/>
                    <a:pt x="394" y="170"/>
                  </a:cubicBezTo>
                  <a:cubicBezTo>
                    <a:pt x="394" y="341"/>
                    <a:pt x="394" y="341"/>
                    <a:pt x="394" y="341"/>
                  </a:cubicBezTo>
                  <a:cubicBezTo>
                    <a:pt x="117" y="341"/>
                    <a:pt x="117" y="341"/>
                    <a:pt x="117" y="341"/>
                  </a:cubicBezTo>
                  <a:lnTo>
                    <a:pt x="117"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4"/>
                    <a:pt x="411" y="149"/>
                    <a:pt x="405" y="149"/>
                  </a:cubicBezTo>
                  <a:cubicBezTo>
                    <a:pt x="106" y="149"/>
                    <a:pt x="106" y="149"/>
                    <a:pt x="106" y="149"/>
                  </a:cubicBezTo>
                  <a:cubicBezTo>
                    <a:pt x="100" y="149"/>
                    <a:pt x="96" y="154"/>
                    <a:pt x="96" y="160"/>
                  </a:cubicBezTo>
                  <a:cubicBezTo>
                    <a:pt x="96" y="352"/>
                    <a:pt x="96" y="352"/>
                    <a:pt x="96" y="352"/>
                  </a:cubicBezTo>
                  <a:cubicBezTo>
                    <a:pt x="96" y="358"/>
                    <a:pt x="100" y="362"/>
                    <a:pt x="106" y="362"/>
                  </a:cubicBezTo>
                  <a:cubicBezTo>
                    <a:pt x="192" y="362"/>
                    <a:pt x="192" y="362"/>
                    <a:pt x="192" y="362"/>
                  </a:cubicBezTo>
                  <a:cubicBezTo>
                    <a:pt x="186" y="362"/>
                    <a:pt x="181" y="367"/>
                    <a:pt x="181" y="373"/>
                  </a:cubicBezTo>
                  <a:cubicBezTo>
                    <a:pt x="181" y="379"/>
                    <a:pt x="186" y="384"/>
                    <a:pt x="192" y="384"/>
                  </a:cubicBezTo>
                  <a:cubicBezTo>
                    <a:pt x="320" y="384"/>
                    <a:pt x="320" y="384"/>
                    <a:pt x="320" y="384"/>
                  </a:cubicBezTo>
                  <a:cubicBezTo>
                    <a:pt x="326" y="384"/>
                    <a:pt x="330" y="379"/>
                    <a:pt x="330" y="373"/>
                  </a:cubicBezTo>
                  <a:cubicBezTo>
                    <a:pt x="330" y="367"/>
                    <a:pt x="326" y="362"/>
                    <a:pt x="320" y="362"/>
                  </a:cubicBezTo>
                  <a:cubicBezTo>
                    <a:pt x="405" y="362"/>
                    <a:pt x="405" y="362"/>
                    <a:pt x="405" y="362"/>
                  </a:cubicBezTo>
                  <a:cubicBezTo>
                    <a:pt x="411" y="362"/>
                    <a:pt x="416" y="358"/>
                    <a:pt x="416" y="352"/>
                  </a:cubicBezTo>
                  <a:lnTo>
                    <a:pt x="416" y="160"/>
                  </a:lnTo>
                  <a:close/>
                </a:path>
              </a:pathLst>
            </a:custGeom>
            <a:solidFill>
              <a:schemeClr val="tx1"/>
            </a:solidFill>
            <a:ln>
              <a:noFill/>
            </a:ln>
          </p:spPr>
          <p:txBody>
            <a:bodyPr/>
            <a:lstStyle/>
            <a:p>
              <a:endParaRPr lang="en-GB" sz="1350"/>
            </a:p>
          </p:txBody>
        </p:sp>
        <p:sp>
          <p:nvSpPr>
            <p:cNvPr id="45" name="Freeform 420"/>
            <p:cNvSpPr>
              <a:spLocks noChangeAspect="1" noEditPoints="1"/>
            </p:cNvSpPr>
            <p:nvPr/>
          </p:nvSpPr>
          <p:spPr bwMode="auto">
            <a:xfrm>
              <a:off x="8228135" y="4928314"/>
              <a:ext cx="895727" cy="897719"/>
            </a:xfrm>
            <a:custGeom>
              <a:avLst/>
              <a:gdLst>
                <a:gd name="T0" fmla="*/ 117 w 512"/>
                <a:gd name="T1" fmla="*/ 170 h 512"/>
                <a:gd name="T2" fmla="*/ 394 w 512"/>
                <a:gd name="T3" fmla="*/ 170 h 512"/>
                <a:gd name="T4" fmla="*/ 394 w 512"/>
                <a:gd name="T5" fmla="*/ 341 h 512"/>
                <a:gd name="T6" fmla="*/ 117 w 512"/>
                <a:gd name="T7" fmla="*/ 341 h 512"/>
                <a:gd name="T8" fmla="*/ 117 w 512"/>
                <a:gd name="T9" fmla="*/ 17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16 w 512"/>
                <a:gd name="T21" fmla="*/ 160 h 512"/>
                <a:gd name="T22" fmla="*/ 405 w 512"/>
                <a:gd name="T23" fmla="*/ 149 h 512"/>
                <a:gd name="T24" fmla="*/ 106 w 512"/>
                <a:gd name="T25" fmla="*/ 149 h 512"/>
                <a:gd name="T26" fmla="*/ 96 w 512"/>
                <a:gd name="T27" fmla="*/ 160 h 512"/>
                <a:gd name="T28" fmla="*/ 96 w 512"/>
                <a:gd name="T29" fmla="*/ 352 h 512"/>
                <a:gd name="T30" fmla="*/ 106 w 512"/>
                <a:gd name="T31" fmla="*/ 362 h 512"/>
                <a:gd name="T32" fmla="*/ 192 w 512"/>
                <a:gd name="T33" fmla="*/ 362 h 512"/>
                <a:gd name="T34" fmla="*/ 181 w 512"/>
                <a:gd name="T35" fmla="*/ 373 h 512"/>
                <a:gd name="T36" fmla="*/ 192 w 512"/>
                <a:gd name="T37" fmla="*/ 384 h 512"/>
                <a:gd name="T38" fmla="*/ 320 w 512"/>
                <a:gd name="T39" fmla="*/ 384 h 512"/>
                <a:gd name="T40" fmla="*/ 330 w 512"/>
                <a:gd name="T41" fmla="*/ 373 h 512"/>
                <a:gd name="T42" fmla="*/ 320 w 512"/>
                <a:gd name="T43" fmla="*/ 362 h 512"/>
                <a:gd name="T44" fmla="*/ 405 w 512"/>
                <a:gd name="T45" fmla="*/ 362 h 512"/>
                <a:gd name="T46" fmla="*/ 416 w 512"/>
                <a:gd name="T47" fmla="*/ 352 h 512"/>
                <a:gd name="T48" fmla="*/ 416 w 512"/>
                <a:gd name="T49"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117" y="170"/>
                  </a:moveTo>
                  <a:cubicBezTo>
                    <a:pt x="394" y="170"/>
                    <a:pt x="394" y="170"/>
                    <a:pt x="394" y="170"/>
                  </a:cubicBezTo>
                  <a:cubicBezTo>
                    <a:pt x="394" y="341"/>
                    <a:pt x="394" y="341"/>
                    <a:pt x="394" y="341"/>
                  </a:cubicBezTo>
                  <a:cubicBezTo>
                    <a:pt x="117" y="341"/>
                    <a:pt x="117" y="341"/>
                    <a:pt x="117" y="341"/>
                  </a:cubicBezTo>
                  <a:lnTo>
                    <a:pt x="117" y="17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4"/>
                    <a:pt x="411" y="149"/>
                    <a:pt x="405" y="149"/>
                  </a:cubicBezTo>
                  <a:cubicBezTo>
                    <a:pt x="106" y="149"/>
                    <a:pt x="106" y="149"/>
                    <a:pt x="106" y="149"/>
                  </a:cubicBezTo>
                  <a:cubicBezTo>
                    <a:pt x="100" y="149"/>
                    <a:pt x="96" y="154"/>
                    <a:pt x="96" y="160"/>
                  </a:cubicBezTo>
                  <a:cubicBezTo>
                    <a:pt x="96" y="352"/>
                    <a:pt x="96" y="352"/>
                    <a:pt x="96" y="352"/>
                  </a:cubicBezTo>
                  <a:cubicBezTo>
                    <a:pt x="96" y="358"/>
                    <a:pt x="100" y="362"/>
                    <a:pt x="106" y="362"/>
                  </a:cubicBezTo>
                  <a:cubicBezTo>
                    <a:pt x="192" y="362"/>
                    <a:pt x="192" y="362"/>
                    <a:pt x="192" y="362"/>
                  </a:cubicBezTo>
                  <a:cubicBezTo>
                    <a:pt x="186" y="362"/>
                    <a:pt x="181" y="367"/>
                    <a:pt x="181" y="373"/>
                  </a:cubicBezTo>
                  <a:cubicBezTo>
                    <a:pt x="181" y="379"/>
                    <a:pt x="186" y="384"/>
                    <a:pt x="192" y="384"/>
                  </a:cubicBezTo>
                  <a:cubicBezTo>
                    <a:pt x="320" y="384"/>
                    <a:pt x="320" y="384"/>
                    <a:pt x="320" y="384"/>
                  </a:cubicBezTo>
                  <a:cubicBezTo>
                    <a:pt x="326" y="384"/>
                    <a:pt x="330" y="379"/>
                    <a:pt x="330" y="373"/>
                  </a:cubicBezTo>
                  <a:cubicBezTo>
                    <a:pt x="330" y="367"/>
                    <a:pt x="326" y="362"/>
                    <a:pt x="320" y="362"/>
                  </a:cubicBezTo>
                  <a:cubicBezTo>
                    <a:pt x="405" y="362"/>
                    <a:pt x="405" y="362"/>
                    <a:pt x="405" y="362"/>
                  </a:cubicBezTo>
                  <a:cubicBezTo>
                    <a:pt x="411" y="362"/>
                    <a:pt x="416" y="358"/>
                    <a:pt x="416" y="352"/>
                  </a:cubicBezTo>
                  <a:lnTo>
                    <a:pt x="416" y="160"/>
                  </a:lnTo>
                  <a:close/>
                </a:path>
              </a:pathLst>
            </a:custGeom>
            <a:solidFill>
              <a:schemeClr val="tx1"/>
            </a:solidFill>
            <a:ln>
              <a:noFill/>
            </a:ln>
          </p:spPr>
          <p:txBody>
            <a:bodyPr/>
            <a:lstStyle/>
            <a:p>
              <a:endParaRPr lang="en-GB" sz="1350"/>
            </a:p>
          </p:txBody>
        </p:sp>
      </p:grpSp>
      <p:pic>
        <p:nvPicPr>
          <p:cNvPr id="308" name="DeloitteW">
            <a:extLst>
              <a:ext uri="{FF2B5EF4-FFF2-40B4-BE49-F238E27FC236}">
                <a16:creationId xmlns:a16="http://schemas.microsoft.com/office/drawing/2014/main" id="{887D9288-02EE-451D-9A9D-FF57D8D0C168}"/>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Tree>
    <p:extLst>
      <p:ext uri="{BB962C8B-B14F-4D97-AF65-F5344CB8AC3E}">
        <p14:creationId xmlns:p14="http://schemas.microsoft.com/office/powerpoint/2010/main" val="336979088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399" y="0"/>
            <a:ext cx="8442325" cy="595313"/>
          </a:xfrm>
        </p:spPr>
        <p:txBody>
          <a:bodyPr/>
          <a:lstStyle/>
          <a:p>
            <a:r>
              <a:rPr lang="en-US" sz="2800" b="1" dirty="0"/>
              <a:t>OLAP</a:t>
            </a:r>
          </a:p>
        </p:txBody>
      </p:sp>
      <p:sp>
        <p:nvSpPr>
          <p:cNvPr id="6" name="Content Placeholder 2">
            <a:extLst>
              <a:ext uri="{FF2B5EF4-FFF2-40B4-BE49-F238E27FC236}">
                <a16:creationId xmlns:a16="http://schemas.microsoft.com/office/drawing/2014/main" id="{6D81A1E5-C815-4B9A-A9E1-D7E3CB9389A2}"/>
              </a:ext>
            </a:extLst>
          </p:cNvPr>
          <p:cNvSpPr>
            <a:spLocks noGrp="1"/>
          </p:cNvSpPr>
          <p:nvPr>
            <p:ph idx="1"/>
          </p:nvPr>
        </p:nvSpPr>
        <p:spPr>
          <a:xfrm>
            <a:off x="160838" y="534741"/>
            <a:ext cx="8411852" cy="6296635"/>
          </a:xfrm>
        </p:spPr>
        <p:txBody>
          <a:bodyPr>
            <a:noAutofit/>
          </a:bodyPr>
          <a:lstStyle/>
          <a:p>
            <a:pPr marL="285750" marR="0" lvl="0" indent="-285750" algn="l" defTabSz="914400" rtl="0" eaLnBrk="1" fontAlgn="base" latinLnBrk="0" hangingPunct="1">
              <a:lnSpc>
                <a:spcPct val="105000"/>
              </a:lnSpc>
              <a:spcBef>
                <a:spcPct val="20000"/>
              </a:spcBef>
              <a:spcAft>
                <a:spcPct val="0"/>
              </a:spcAft>
              <a:buClr>
                <a:srgbClr val="92D050"/>
              </a:buClr>
              <a:buSzPct val="120000"/>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4 Main Characteristics</a:t>
            </a:r>
          </a:p>
          <a:p>
            <a:pPr marL="628650" marR="0" lvl="1" indent="-285750" algn="l" defTabSz="914400" rtl="0" eaLnBrk="1" fontAlgn="base" latinLnBrk="0" hangingPunct="1">
              <a:lnSpc>
                <a:spcPct val="105000"/>
              </a:lnSpc>
              <a:spcBef>
                <a:spcPct val="20000"/>
              </a:spcBef>
              <a:spcAft>
                <a:spcPct val="0"/>
              </a:spcAft>
              <a:buClr>
                <a:srgbClr val="92D050"/>
              </a:buClr>
              <a:buSzPct val="90000"/>
              <a:buFont typeface="Wingdings" panose="05000000000000000000" pitchFamily="2" charset="2"/>
              <a:buChar char="§"/>
              <a:tabLst/>
              <a:defRPr/>
            </a:pPr>
            <a:r>
              <a:rPr kumimoji="0" lang="en-US" sz="1800" b="0" i="0" u="none" strike="noStrike" kern="0" cap="none" spc="0" normalizeH="0" baseline="0" noProof="0" dirty="0">
                <a:ln>
                  <a:noFill/>
                </a:ln>
                <a:solidFill>
                  <a:srgbClr val="000000"/>
                </a:solidFill>
                <a:effectLst/>
                <a:uLnTx/>
                <a:uFillTx/>
                <a:latin typeface="Arial"/>
              </a:rPr>
              <a:t>Multidimensional data analysis</a:t>
            </a:r>
          </a:p>
          <a:p>
            <a:pPr marL="628650" marR="0" lvl="1" indent="-285750" algn="l" defTabSz="914400" rtl="0" eaLnBrk="1" fontAlgn="base" latinLnBrk="0" hangingPunct="1">
              <a:lnSpc>
                <a:spcPct val="105000"/>
              </a:lnSpc>
              <a:spcBef>
                <a:spcPct val="20000"/>
              </a:spcBef>
              <a:spcAft>
                <a:spcPct val="0"/>
              </a:spcAft>
              <a:buClr>
                <a:srgbClr val="92D050"/>
              </a:buClr>
              <a:buSzPct val="90000"/>
              <a:buFont typeface="Wingdings" panose="05000000000000000000" pitchFamily="2" charset="2"/>
              <a:buChar char="§"/>
              <a:tabLst/>
              <a:defRPr/>
            </a:pPr>
            <a:r>
              <a:rPr kumimoji="0" lang="en-US" sz="1800" b="0" i="0" u="none" strike="noStrike" kern="0" cap="none" spc="0" normalizeH="0" baseline="0" noProof="0" dirty="0">
                <a:ln>
                  <a:noFill/>
                </a:ln>
                <a:solidFill>
                  <a:srgbClr val="000000"/>
                </a:solidFill>
                <a:effectLst/>
                <a:uLnTx/>
                <a:uFillTx/>
                <a:latin typeface="Arial"/>
              </a:rPr>
              <a:t>Advanced Database Support</a:t>
            </a:r>
          </a:p>
          <a:p>
            <a:pPr marL="628650" marR="0" lvl="1" indent="-285750" algn="l" defTabSz="914400" rtl="0" eaLnBrk="1" fontAlgn="base" latinLnBrk="0" hangingPunct="1">
              <a:lnSpc>
                <a:spcPct val="105000"/>
              </a:lnSpc>
              <a:spcBef>
                <a:spcPct val="20000"/>
              </a:spcBef>
              <a:spcAft>
                <a:spcPct val="0"/>
              </a:spcAft>
              <a:buClr>
                <a:srgbClr val="92D050"/>
              </a:buClr>
              <a:buSzPct val="90000"/>
              <a:buFont typeface="Wingdings" panose="05000000000000000000" pitchFamily="2" charset="2"/>
              <a:buChar char="§"/>
              <a:tabLst/>
              <a:defRPr/>
            </a:pPr>
            <a:r>
              <a:rPr kumimoji="0" lang="en-US" sz="1800" b="0" i="0" u="none" strike="noStrike" kern="0" cap="none" spc="0" normalizeH="0" baseline="0" noProof="0" dirty="0">
                <a:ln>
                  <a:noFill/>
                </a:ln>
                <a:solidFill>
                  <a:srgbClr val="000000"/>
                </a:solidFill>
                <a:effectLst/>
                <a:uLnTx/>
                <a:uFillTx/>
                <a:latin typeface="Arial"/>
              </a:rPr>
              <a:t>Easy-to-use end-user interfaces</a:t>
            </a:r>
          </a:p>
          <a:p>
            <a:pPr marL="628650" marR="0" lvl="1" indent="-285750" algn="l" defTabSz="914400" rtl="0" eaLnBrk="1" fontAlgn="base" latinLnBrk="0" hangingPunct="1">
              <a:lnSpc>
                <a:spcPct val="105000"/>
              </a:lnSpc>
              <a:spcBef>
                <a:spcPct val="20000"/>
              </a:spcBef>
              <a:spcAft>
                <a:spcPct val="0"/>
              </a:spcAft>
              <a:buClr>
                <a:srgbClr val="92D050"/>
              </a:buClr>
              <a:buSzPct val="90000"/>
              <a:buFont typeface="Wingdings" panose="05000000000000000000" pitchFamily="2" charset="2"/>
              <a:buChar char="§"/>
              <a:tabLst/>
              <a:defRPr/>
            </a:pPr>
            <a:r>
              <a:rPr kumimoji="0" lang="en-US" sz="1800" b="0" i="0" u="none" strike="noStrike" kern="0" cap="none" spc="0" normalizeH="0" baseline="0" noProof="0" dirty="0">
                <a:ln>
                  <a:noFill/>
                </a:ln>
                <a:solidFill>
                  <a:srgbClr val="000000"/>
                </a:solidFill>
                <a:effectLst/>
                <a:uLnTx/>
                <a:uFillTx/>
                <a:latin typeface="Arial"/>
              </a:rPr>
              <a:t>Support Client/Server architecture</a:t>
            </a:r>
          </a:p>
          <a:p>
            <a:pPr marL="342900" marR="0" lvl="1" algn="l" defTabSz="914400" rtl="0" eaLnBrk="1" fontAlgn="base" latinLnBrk="0" hangingPunct="1">
              <a:lnSpc>
                <a:spcPct val="105000"/>
              </a:lnSpc>
              <a:spcBef>
                <a:spcPct val="20000"/>
              </a:spcBef>
              <a:spcAft>
                <a:spcPct val="0"/>
              </a:spcAft>
              <a:buClr>
                <a:srgbClr val="92D050"/>
              </a:buClr>
              <a:buSzPct val="90000"/>
              <a:tabLst/>
              <a:defRPr/>
            </a:pPr>
            <a:endParaRPr kumimoji="0" lang="en-US" sz="1800" b="0" i="0" u="none" strike="noStrike" kern="0" cap="none" spc="0" normalizeH="0" baseline="0" noProof="0" dirty="0">
              <a:ln>
                <a:noFill/>
              </a:ln>
              <a:solidFill>
                <a:srgbClr val="000000"/>
              </a:solidFill>
              <a:effectLst/>
              <a:uLnTx/>
              <a:uFillTx/>
              <a:latin typeface="Arial"/>
            </a:endParaRPr>
          </a:p>
          <a:p>
            <a:pPr marL="0" marR="0" lvl="0" indent="0" algn="l" defTabSz="914400" rtl="0" eaLnBrk="1" fontAlgn="base" latinLnBrk="0" hangingPunct="1">
              <a:lnSpc>
                <a:spcPct val="90000"/>
              </a:lnSpc>
              <a:spcBef>
                <a:spcPct val="20000"/>
              </a:spcBef>
              <a:spcAft>
                <a:spcPct val="0"/>
              </a:spcAft>
              <a:buClr>
                <a:srgbClr val="000000"/>
              </a:buClr>
              <a:buSzPct val="120000"/>
              <a:buFontTx/>
              <a:buNone/>
              <a:tabLst/>
              <a:defRPr/>
            </a:pPr>
            <a:r>
              <a:rPr kumimoji="0" lang="en-US" sz="1800" b="1" i="0" u="none" strike="noStrike" kern="0" cap="none" spc="0" normalizeH="0" baseline="0" noProof="0" dirty="0">
                <a:ln>
                  <a:noFill/>
                </a:ln>
                <a:solidFill>
                  <a:srgbClr val="000000"/>
                </a:solidFill>
                <a:effectLst/>
                <a:uLnTx/>
                <a:uFillTx/>
                <a:latin typeface="Arial"/>
                <a:ea typeface="+mn-ea"/>
                <a:cs typeface="+mn-cs"/>
              </a:rPr>
              <a:t>Multidimensional Data Analysis Techniques :</a:t>
            </a:r>
          </a:p>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Advanced Data Presentation Functions</a:t>
            </a:r>
          </a:p>
          <a:p>
            <a:pPr marL="571500" marR="0" lvl="1" indent="-228600" algn="l" defTabSz="914400" rtl="0" eaLnBrk="1" fontAlgn="base" latinLnBrk="0" hangingPunct="1">
              <a:lnSpc>
                <a:spcPct val="105000"/>
              </a:lnSpc>
              <a:spcBef>
                <a:spcPct val="20000"/>
              </a:spcBef>
              <a:spcAft>
                <a:spcPct val="0"/>
              </a:spcAft>
              <a:buClr>
                <a:srgbClr val="92D050"/>
              </a:buClr>
              <a:buSzPct val="90000"/>
              <a:buFont typeface="Wingdings" pitchFamily="2" charset="2"/>
              <a:buChar char="§"/>
              <a:tabLst/>
              <a:defRPr/>
            </a:pPr>
            <a:r>
              <a:rPr kumimoji="0" lang="en-US" sz="1800" b="0" i="0" u="none" strike="noStrike" kern="0" cap="none" spc="0" normalizeH="0" baseline="0" noProof="0" dirty="0">
                <a:ln>
                  <a:noFill/>
                </a:ln>
                <a:solidFill>
                  <a:srgbClr val="000000"/>
                </a:solidFill>
                <a:effectLst/>
                <a:uLnTx/>
                <a:uFillTx/>
                <a:latin typeface="Arial"/>
              </a:rPr>
              <a:t>3-D graphics, Pivot Tables, Crosstabs, etc.</a:t>
            </a:r>
          </a:p>
          <a:p>
            <a:pPr marL="571500" marR="0" lvl="1" indent="-228600" algn="l" defTabSz="914400" rtl="0" eaLnBrk="1" fontAlgn="base" latinLnBrk="0" hangingPunct="1">
              <a:lnSpc>
                <a:spcPct val="105000"/>
              </a:lnSpc>
              <a:spcBef>
                <a:spcPct val="20000"/>
              </a:spcBef>
              <a:spcAft>
                <a:spcPct val="0"/>
              </a:spcAft>
              <a:buClr>
                <a:srgbClr val="92D050"/>
              </a:buClr>
              <a:buSzPct val="90000"/>
              <a:buFont typeface="Wingdings" pitchFamily="2" charset="2"/>
              <a:buChar char="§"/>
              <a:tabLst/>
              <a:defRPr/>
            </a:pPr>
            <a:r>
              <a:rPr kumimoji="0" lang="en-US" sz="1800" b="0" i="0" u="none" strike="noStrike" kern="0" cap="none" spc="0" normalizeH="0" baseline="0" noProof="0" dirty="0">
                <a:ln>
                  <a:noFill/>
                </a:ln>
                <a:solidFill>
                  <a:srgbClr val="000000"/>
                </a:solidFill>
                <a:effectLst/>
                <a:uLnTx/>
                <a:uFillTx/>
                <a:latin typeface="Arial"/>
              </a:rPr>
              <a:t>Compatible with Spreadsheets &amp; Statistical packages</a:t>
            </a:r>
          </a:p>
          <a:p>
            <a:pPr marL="571500" marR="0" lvl="1" indent="-228600" algn="l" defTabSz="914400" rtl="0" eaLnBrk="1" fontAlgn="base" latinLnBrk="0" hangingPunct="1">
              <a:lnSpc>
                <a:spcPct val="105000"/>
              </a:lnSpc>
              <a:spcBef>
                <a:spcPct val="20000"/>
              </a:spcBef>
              <a:spcAft>
                <a:spcPct val="0"/>
              </a:spcAft>
              <a:buClr>
                <a:srgbClr val="92D050"/>
              </a:buClr>
              <a:buSzPct val="90000"/>
              <a:buFont typeface="Wingdings" pitchFamily="2" charset="2"/>
              <a:buChar char="§"/>
              <a:tabLst/>
              <a:defRPr/>
            </a:pPr>
            <a:r>
              <a:rPr kumimoji="0" lang="en-US" sz="1800" b="0" i="0" u="none" strike="noStrike" kern="0" cap="none" spc="0" normalizeH="0" baseline="0" noProof="0" dirty="0">
                <a:ln>
                  <a:noFill/>
                </a:ln>
                <a:solidFill>
                  <a:srgbClr val="000000"/>
                </a:solidFill>
                <a:effectLst/>
                <a:uLnTx/>
                <a:uFillTx/>
                <a:latin typeface="Arial"/>
              </a:rPr>
              <a:t>Advanced data aggregations, consolidation and classification across time dimensions</a:t>
            </a:r>
          </a:p>
          <a:p>
            <a:pPr marL="571500" marR="0" lvl="1" indent="-228600" algn="l" defTabSz="914400" rtl="0" eaLnBrk="1" fontAlgn="base" latinLnBrk="0" hangingPunct="1">
              <a:lnSpc>
                <a:spcPct val="105000"/>
              </a:lnSpc>
              <a:spcBef>
                <a:spcPct val="20000"/>
              </a:spcBef>
              <a:spcAft>
                <a:spcPct val="0"/>
              </a:spcAft>
              <a:buClr>
                <a:srgbClr val="92D050"/>
              </a:buClr>
              <a:buSzPct val="90000"/>
              <a:buFont typeface="Wingdings" pitchFamily="2" charset="2"/>
              <a:buChar char="§"/>
              <a:tabLst/>
              <a:defRPr/>
            </a:pPr>
            <a:r>
              <a:rPr kumimoji="0" lang="en-US" sz="1800" b="0" i="0" u="none" strike="noStrike" kern="0" cap="none" spc="0" normalizeH="0" baseline="0" noProof="0" dirty="0">
                <a:ln>
                  <a:noFill/>
                </a:ln>
                <a:solidFill>
                  <a:srgbClr val="000000"/>
                </a:solidFill>
                <a:effectLst/>
                <a:uLnTx/>
                <a:uFillTx/>
                <a:latin typeface="Arial"/>
              </a:rPr>
              <a:t>Advanced computational functions</a:t>
            </a:r>
          </a:p>
          <a:p>
            <a:pPr marL="571500" marR="0" lvl="1" indent="-228600" algn="l" defTabSz="914400" rtl="0" eaLnBrk="1" fontAlgn="base" latinLnBrk="0" hangingPunct="1">
              <a:lnSpc>
                <a:spcPct val="105000"/>
              </a:lnSpc>
              <a:spcBef>
                <a:spcPct val="20000"/>
              </a:spcBef>
              <a:spcAft>
                <a:spcPct val="0"/>
              </a:spcAft>
              <a:buClr>
                <a:srgbClr val="92D050"/>
              </a:buClr>
              <a:buSzPct val="90000"/>
              <a:buFont typeface="Wingdings" pitchFamily="2" charset="2"/>
              <a:buChar char="§"/>
              <a:tabLst/>
              <a:defRPr/>
            </a:pPr>
            <a:r>
              <a:rPr kumimoji="0" lang="en-US" sz="1800" b="0" i="0" u="none" strike="noStrike" kern="0" cap="none" spc="0" normalizeH="0" baseline="0" noProof="0" dirty="0">
                <a:ln>
                  <a:noFill/>
                </a:ln>
                <a:solidFill>
                  <a:srgbClr val="000000"/>
                </a:solidFill>
                <a:effectLst/>
                <a:uLnTx/>
                <a:uFillTx/>
                <a:latin typeface="Arial"/>
              </a:rPr>
              <a:t>Advanced data modeling functions</a:t>
            </a:r>
          </a:p>
          <a:p>
            <a:endParaRPr lang="en-US" sz="1200" dirty="0"/>
          </a:p>
        </p:txBody>
      </p:sp>
    </p:spTree>
    <p:extLst>
      <p:ext uri="{BB962C8B-B14F-4D97-AF65-F5344CB8AC3E}">
        <p14:creationId xmlns:p14="http://schemas.microsoft.com/office/powerpoint/2010/main" val="147502697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399" y="0"/>
            <a:ext cx="8442325" cy="595313"/>
          </a:xfrm>
        </p:spPr>
        <p:txBody>
          <a:bodyPr/>
          <a:lstStyle/>
          <a:p>
            <a:r>
              <a:rPr lang="en-US" sz="2800" b="1" dirty="0"/>
              <a:t>OLAP</a:t>
            </a:r>
          </a:p>
        </p:txBody>
      </p:sp>
      <p:sp>
        <p:nvSpPr>
          <p:cNvPr id="6" name="Content Placeholder 2">
            <a:extLst>
              <a:ext uri="{FF2B5EF4-FFF2-40B4-BE49-F238E27FC236}">
                <a16:creationId xmlns:a16="http://schemas.microsoft.com/office/drawing/2014/main" id="{6D81A1E5-C815-4B9A-A9E1-D7E3CB9389A2}"/>
              </a:ext>
            </a:extLst>
          </p:cNvPr>
          <p:cNvSpPr>
            <a:spLocks noGrp="1"/>
          </p:cNvSpPr>
          <p:nvPr>
            <p:ph idx="1"/>
          </p:nvPr>
        </p:nvSpPr>
        <p:spPr>
          <a:xfrm>
            <a:off x="160838" y="534741"/>
            <a:ext cx="8411852" cy="6296635"/>
          </a:xfrm>
        </p:spPr>
        <p:txBody>
          <a:bodyPr>
            <a:noAutofit/>
          </a:bodyPr>
          <a:lstStyle/>
          <a:p>
            <a:pPr marL="285750" marR="0" lvl="0" indent="-285750" algn="l" defTabSz="914400" rtl="0" eaLnBrk="1" fontAlgn="base" latinLnBrk="0" hangingPunct="1">
              <a:lnSpc>
                <a:spcPct val="90000"/>
              </a:lnSpc>
              <a:spcBef>
                <a:spcPct val="20000"/>
              </a:spcBef>
              <a:spcAft>
                <a:spcPct val="0"/>
              </a:spcAft>
              <a:buClr>
                <a:srgbClr val="92D050"/>
              </a:buClr>
              <a:buSzPct val="120000"/>
              <a:buFont typeface="Wingdings" panose="05000000000000000000" pitchFamily="2" charset="2"/>
              <a:buChar char="v"/>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Advanced Data Access Features</a:t>
            </a:r>
          </a:p>
          <a:p>
            <a:pPr marL="628650" marR="0" lvl="1" indent="-285750" algn="l" defTabSz="914400" rtl="0" eaLnBrk="1" fontAlgn="base" latinLnBrk="0" hangingPunct="1">
              <a:lnSpc>
                <a:spcPct val="90000"/>
              </a:lnSpc>
              <a:spcBef>
                <a:spcPct val="20000"/>
              </a:spcBef>
              <a:spcAft>
                <a:spcPct val="0"/>
              </a:spcAft>
              <a:buClr>
                <a:srgbClr val="92D050"/>
              </a:buClr>
              <a:buSzPct val="90000"/>
              <a:buFont typeface="Wingdings" panose="05000000000000000000" pitchFamily="2" charset="2"/>
              <a:buChar char="v"/>
              <a:tabLst/>
              <a:defRPr/>
            </a:pPr>
            <a:r>
              <a:rPr kumimoji="0" lang="en-US" sz="1800" b="0" i="0" u="none" strike="noStrike" kern="0" cap="none" spc="0" normalizeH="0" baseline="0" noProof="0" dirty="0">
                <a:ln>
                  <a:noFill/>
                </a:ln>
                <a:solidFill>
                  <a:srgbClr val="000000"/>
                </a:solidFill>
                <a:effectLst/>
                <a:uLnTx/>
                <a:uFillTx/>
                <a:latin typeface="Arial"/>
              </a:rPr>
              <a:t>Access to many kinds of DBMS’s, flat files, and internal and external data sources</a:t>
            </a:r>
          </a:p>
          <a:p>
            <a:pPr marL="628650" marR="0" lvl="1" indent="-285750" algn="l" defTabSz="914400" rtl="0" eaLnBrk="1" fontAlgn="base" latinLnBrk="0" hangingPunct="1">
              <a:lnSpc>
                <a:spcPct val="90000"/>
              </a:lnSpc>
              <a:spcBef>
                <a:spcPct val="20000"/>
              </a:spcBef>
              <a:spcAft>
                <a:spcPct val="0"/>
              </a:spcAft>
              <a:buClr>
                <a:srgbClr val="92D050"/>
              </a:buClr>
              <a:buSzPct val="90000"/>
              <a:buFont typeface="Wingdings" panose="05000000000000000000" pitchFamily="2" charset="2"/>
              <a:buChar char="v"/>
              <a:tabLst/>
              <a:defRPr/>
            </a:pPr>
            <a:r>
              <a:rPr kumimoji="0" lang="en-US" sz="1800" b="0" i="0" u="none" strike="noStrike" kern="0" cap="none" spc="0" normalizeH="0" baseline="0" noProof="0" dirty="0">
                <a:ln>
                  <a:noFill/>
                </a:ln>
                <a:solidFill>
                  <a:srgbClr val="000000"/>
                </a:solidFill>
                <a:effectLst/>
                <a:uLnTx/>
                <a:uFillTx/>
                <a:latin typeface="Arial"/>
              </a:rPr>
              <a:t>Access to aggregated data warehouse data</a:t>
            </a:r>
          </a:p>
          <a:p>
            <a:pPr marL="628650" marR="0" lvl="1" indent="-285750" algn="l" defTabSz="914400" rtl="0" eaLnBrk="1" fontAlgn="base" latinLnBrk="0" hangingPunct="1">
              <a:lnSpc>
                <a:spcPct val="90000"/>
              </a:lnSpc>
              <a:spcBef>
                <a:spcPct val="20000"/>
              </a:spcBef>
              <a:spcAft>
                <a:spcPct val="0"/>
              </a:spcAft>
              <a:buClr>
                <a:srgbClr val="92D050"/>
              </a:buClr>
              <a:buSzPct val="90000"/>
              <a:buFont typeface="Wingdings" panose="05000000000000000000" pitchFamily="2" charset="2"/>
              <a:buChar char="v"/>
              <a:tabLst/>
              <a:defRPr/>
            </a:pPr>
            <a:r>
              <a:rPr kumimoji="0" lang="en-US" sz="1800" b="0" i="0" u="none" strike="noStrike" kern="0" cap="none" spc="0" normalizeH="0" baseline="0" noProof="0" dirty="0">
                <a:ln>
                  <a:noFill/>
                </a:ln>
                <a:solidFill>
                  <a:srgbClr val="000000"/>
                </a:solidFill>
                <a:effectLst/>
                <a:uLnTx/>
                <a:uFillTx/>
                <a:latin typeface="Arial"/>
              </a:rPr>
              <a:t>Advanced data navigation (drill-downs and roll-ups)</a:t>
            </a:r>
          </a:p>
          <a:p>
            <a:pPr marL="628650" marR="0" lvl="1" indent="-285750" algn="l" defTabSz="914400" rtl="0" eaLnBrk="1" fontAlgn="base" latinLnBrk="0" hangingPunct="1">
              <a:lnSpc>
                <a:spcPct val="90000"/>
              </a:lnSpc>
              <a:spcBef>
                <a:spcPct val="20000"/>
              </a:spcBef>
              <a:spcAft>
                <a:spcPct val="0"/>
              </a:spcAft>
              <a:buClr>
                <a:srgbClr val="92D050"/>
              </a:buClr>
              <a:buSzPct val="90000"/>
              <a:buFont typeface="Wingdings" panose="05000000000000000000" pitchFamily="2" charset="2"/>
              <a:buChar char="v"/>
              <a:tabLst/>
              <a:defRPr/>
            </a:pPr>
            <a:r>
              <a:rPr kumimoji="0" lang="en-US" sz="1800" b="0" i="0" u="none" strike="noStrike" kern="0" cap="none" spc="0" normalizeH="0" baseline="0" noProof="0" dirty="0">
                <a:ln>
                  <a:noFill/>
                </a:ln>
                <a:solidFill>
                  <a:srgbClr val="000000"/>
                </a:solidFill>
                <a:effectLst/>
                <a:uLnTx/>
                <a:uFillTx/>
                <a:latin typeface="Arial"/>
              </a:rPr>
              <a:t>Ability to map end-user requests to the appropriate data source</a:t>
            </a:r>
          </a:p>
          <a:p>
            <a:pPr marL="628650" marR="0" lvl="1" indent="-285750" algn="l" defTabSz="914400" rtl="0" eaLnBrk="1" fontAlgn="base" latinLnBrk="0" hangingPunct="1">
              <a:lnSpc>
                <a:spcPct val="90000"/>
              </a:lnSpc>
              <a:spcBef>
                <a:spcPct val="20000"/>
              </a:spcBef>
              <a:spcAft>
                <a:spcPct val="0"/>
              </a:spcAft>
              <a:buClr>
                <a:srgbClr val="92D050"/>
              </a:buClr>
              <a:buSzPct val="90000"/>
              <a:buFont typeface="Wingdings" panose="05000000000000000000" pitchFamily="2" charset="2"/>
              <a:buChar char="v"/>
              <a:tabLst/>
              <a:defRPr/>
            </a:pPr>
            <a:r>
              <a:rPr kumimoji="0" lang="en-US" sz="1800" b="0" i="0" u="none" strike="noStrike" kern="0" cap="none" spc="0" normalizeH="0" baseline="0" noProof="0" dirty="0">
                <a:ln>
                  <a:noFill/>
                </a:ln>
                <a:solidFill>
                  <a:srgbClr val="000000"/>
                </a:solidFill>
                <a:effectLst/>
                <a:uLnTx/>
                <a:uFillTx/>
                <a:latin typeface="Arial"/>
              </a:rPr>
              <a:t>Support for Very Large Databases</a:t>
            </a:r>
          </a:p>
          <a:p>
            <a:endParaRPr lang="en-US" sz="1200" dirty="0"/>
          </a:p>
        </p:txBody>
      </p:sp>
    </p:spTree>
    <p:extLst>
      <p:ext uri="{BB962C8B-B14F-4D97-AF65-F5344CB8AC3E}">
        <p14:creationId xmlns:p14="http://schemas.microsoft.com/office/powerpoint/2010/main" val="1816493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67635" y="184667"/>
            <a:ext cx="8442325" cy="595313"/>
          </a:xfrm>
        </p:spPr>
        <p:txBody>
          <a:bodyPr/>
          <a:lstStyle/>
          <a:p>
            <a:r>
              <a:rPr lang="en-US" sz="2800" b="1" dirty="0"/>
              <a:t>OLAP Architecture</a:t>
            </a:r>
          </a:p>
        </p:txBody>
      </p:sp>
      <p:sp>
        <p:nvSpPr>
          <p:cNvPr id="3" name="Content Placeholder 2">
            <a:extLst>
              <a:ext uri="{FF2B5EF4-FFF2-40B4-BE49-F238E27FC236}">
                <a16:creationId xmlns:a16="http://schemas.microsoft.com/office/drawing/2014/main" id="{76F3615B-908F-4470-BD73-1B20E714760D}"/>
              </a:ext>
            </a:extLst>
          </p:cNvPr>
          <p:cNvSpPr>
            <a:spLocks noGrp="1"/>
          </p:cNvSpPr>
          <p:nvPr>
            <p:ph idx="1"/>
          </p:nvPr>
        </p:nvSpPr>
        <p:spPr>
          <a:xfrm>
            <a:off x="352425" y="779980"/>
            <a:ext cx="8439150" cy="5519221"/>
          </a:xfrm>
        </p:spPr>
        <p:txBody>
          <a:bodyPr/>
          <a:lstStyle/>
          <a:p>
            <a:endParaRPr lang="en-US" dirty="0"/>
          </a:p>
        </p:txBody>
      </p:sp>
      <p:pic>
        <p:nvPicPr>
          <p:cNvPr id="9" name="Picture 8">
            <a:extLst>
              <a:ext uri="{FF2B5EF4-FFF2-40B4-BE49-F238E27FC236}">
                <a16:creationId xmlns:a16="http://schemas.microsoft.com/office/drawing/2014/main" id="{AEDFC19B-B9E5-4226-93A5-45F9E2EDC8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8800" y="1062831"/>
            <a:ext cx="5486400" cy="473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extLst>
      <p:ext uri="{BB962C8B-B14F-4D97-AF65-F5344CB8AC3E}">
        <p14:creationId xmlns:p14="http://schemas.microsoft.com/office/powerpoint/2010/main" val="135307294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15602" y="443593"/>
            <a:ext cx="8439150" cy="757255"/>
          </a:xfrm>
        </p:spPr>
        <p:txBody>
          <a:bodyPr/>
          <a:lstStyle/>
          <a:p>
            <a:r>
              <a:rPr lang="en-US" sz="2800" b="1" dirty="0">
                <a:solidFill>
                  <a:schemeClr val="tx1"/>
                </a:solidFill>
              </a:rPr>
              <a:t>Operational Data Store - ODS</a:t>
            </a:r>
          </a:p>
        </p:txBody>
      </p:sp>
      <p:sp>
        <p:nvSpPr>
          <p:cNvPr id="4" name="Rectangle 3"/>
          <p:cNvSpPr txBox="1">
            <a:spLocks noChangeArrowheads="1"/>
          </p:cNvSpPr>
          <p:nvPr/>
        </p:nvSpPr>
        <p:spPr>
          <a:xfrm>
            <a:off x="332910" y="845197"/>
            <a:ext cx="8016240" cy="4120440"/>
          </a:xfrm>
          <a:prstGeom prst="rect">
            <a:avLst/>
          </a:prstGeom>
        </p:spPr>
        <p:txBody>
          <a:bodyPr rtlCol="0">
            <a:normAutofit/>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spcBef>
                <a:spcPts val="0"/>
              </a:spcBef>
              <a:defRPr/>
            </a:pPr>
            <a:r>
              <a:rPr lang="en-US" altLang="en-US" sz="1600" b="1" dirty="0">
                <a:solidFill>
                  <a:srgbClr val="92D050"/>
                </a:solidFill>
              </a:rPr>
              <a:t>What is an ODS ?</a:t>
            </a:r>
          </a:p>
          <a:p>
            <a:r>
              <a:rPr lang="en-US" altLang="en-US" kern="0" dirty="0">
                <a:solidFill>
                  <a:srgbClr val="000000"/>
                </a:solidFill>
                <a:latin typeface="Arial"/>
              </a:rPr>
              <a:t>An Operational Data Store (ODS) integrates data from multiple business operation sources to address operational problems that span one or more business functions. The ODS provides an integrated view of data in operational systems. </a:t>
            </a:r>
          </a:p>
          <a:p>
            <a:r>
              <a:rPr lang="en-US" altLang="en-US" kern="0" dirty="0">
                <a:solidFill>
                  <a:srgbClr val="000000"/>
                </a:solidFill>
                <a:latin typeface="Arial"/>
              </a:rPr>
              <a:t>As the figure below indicates, there is a clear separation between the ODS and the data warehouse.</a:t>
            </a:r>
          </a:p>
          <a:p>
            <a:pPr marL="214313" indent="-214313" algn="just">
              <a:lnSpc>
                <a:spcPct val="150000"/>
              </a:lnSpc>
              <a:spcBef>
                <a:spcPts val="0"/>
              </a:spcBef>
              <a:buFont typeface="Arial" panose="020B0604020202020204" pitchFamily="34" charset="0"/>
              <a:buChar char="•"/>
              <a:defRPr/>
            </a:pPr>
            <a:endParaRPr lang="en-US" altLang="en-US" kern="0" dirty="0">
              <a:solidFill>
                <a:srgbClr val="000000"/>
              </a:solidFill>
              <a:latin typeface="Arial"/>
            </a:endParaRPr>
          </a:p>
          <a:p>
            <a:pPr algn="just">
              <a:lnSpc>
                <a:spcPct val="150000"/>
              </a:lnSpc>
              <a:spcBef>
                <a:spcPts val="0"/>
              </a:spcBef>
              <a:defRPr/>
            </a:pPr>
            <a:endParaRPr lang="en-US" altLang="en-US" sz="1200" dirty="0"/>
          </a:p>
          <a:p>
            <a:pPr>
              <a:lnSpc>
                <a:spcPct val="80000"/>
              </a:lnSpc>
              <a:spcBef>
                <a:spcPts val="0"/>
              </a:spcBef>
              <a:defRPr/>
            </a:pPr>
            <a:endParaRPr lang="en-US" altLang="en-US" sz="1350" dirty="0"/>
          </a:p>
        </p:txBody>
      </p:sp>
      <p:grpSp>
        <p:nvGrpSpPr>
          <p:cNvPr id="6" name="Group 4"/>
          <p:cNvGrpSpPr>
            <a:grpSpLocks noChangeAspect="1"/>
          </p:cNvGrpSpPr>
          <p:nvPr/>
        </p:nvGrpSpPr>
        <p:grpSpPr bwMode="auto">
          <a:xfrm>
            <a:off x="7460208" y="483585"/>
            <a:ext cx="929155" cy="933143"/>
            <a:chOff x="5057" y="739"/>
            <a:chExt cx="233" cy="234"/>
          </a:xfrm>
          <a:solidFill>
            <a:schemeClr val="accent1"/>
          </a:solidFill>
        </p:grpSpPr>
        <p:sp>
          <p:nvSpPr>
            <p:cNvPr id="7" name="Freeform 5"/>
            <p:cNvSpPr>
              <a:spLocks/>
            </p:cNvSpPr>
            <p:nvPr/>
          </p:nvSpPr>
          <p:spPr bwMode="auto">
            <a:xfrm>
              <a:off x="5136" y="818"/>
              <a:ext cx="75" cy="37"/>
            </a:xfrm>
            <a:custGeom>
              <a:avLst/>
              <a:gdLst>
                <a:gd name="T0" fmla="*/ 37 w 75"/>
                <a:gd name="T1" fmla="*/ 0 h 37"/>
                <a:gd name="T2" fmla="*/ 0 w 75"/>
                <a:gd name="T3" fmla="*/ 19 h 37"/>
                <a:gd name="T4" fmla="*/ 37 w 75"/>
                <a:gd name="T5" fmla="*/ 37 h 37"/>
                <a:gd name="T6" fmla="*/ 75 w 75"/>
                <a:gd name="T7" fmla="*/ 19 h 37"/>
                <a:gd name="T8" fmla="*/ 37 w 75"/>
                <a:gd name="T9" fmla="*/ 0 h 37"/>
              </a:gdLst>
              <a:ahLst/>
              <a:cxnLst>
                <a:cxn ang="0">
                  <a:pos x="T0" y="T1"/>
                </a:cxn>
                <a:cxn ang="0">
                  <a:pos x="T2" y="T3"/>
                </a:cxn>
                <a:cxn ang="0">
                  <a:pos x="T4" y="T5"/>
                </a:cxn>
                <a:cxn ang="0">
                  <a:pos x="T6" y="T7"/>
                </a:cxn>
                <a:cxn ang="0">
                  <a:pos x="T8" y="T9"/>
                </a:cxn>
              </a:cxnLst>
              <a:rect l="0" t="0" r="r" b="b"/>
              <a:pathLst>
                <a:path w="75" h="37">
                  <a:moveTo>
                    <a:pt x="37" y="0"/>
                  </a:moveTo>
                  <a:lnTo>
                    <a:pt x="0" y="19"/>
                  </a:lnTo>
                  <a:lnTo>
                    <a:pt x="37" y="37"/>
                  </a:lnTo>
                  <a:lnTo>
                    <a:pt x="75" y="19"/>
                  </a:lnTo>
                  <a:lnTo>
                    <a:pt x="3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8" name="Freeform 6"/>
            <p:cNvSpPr>
              <a:spLocks/>
            </p:cNvSpPr>
            <p:nvPr/>
          </p:nvSpPr>
          <p:spPr bwMode="auto">
            <a:xfrm>
              <a:off x="5130" y="874"/>
              <a:ext cx="39" cy="42"/>
            </a:xfrm>
            <a:custGeom>
              <a:avLst/>
              <a:gdLst>
                <a:gd name="T0" fmla="*/ 36 w 64"/>
                <a:gd name="T1" fmla="*/ 25 h 69"/>
                <a:gd name="T2" fmla="*/ 0 w 64"/>
                <a:gd name="T3" fmla="*/ 7 h 69"/>
                <a:gd name="T4" fmla="*/ 0 w 64"/>
                <a:gd name="T5" fmla="*/ 37 h 69"/>
                <a:gd name="T6" fmla="*/ 64 w 64"/>
                <a:gd name="T7" fmla="*/ 69 h 69"/>
                <a:gd name="T8" fmla="*/ 64 w 64"/>
                <a:gd name="T9" fmla="*/ 0 h 69"/>
                <a:gd name="T10" fmla="*/ 46 w 64"/>
                <a:gd name="T11" fmla="*/ 23 h 69"/>
                <a:gd name="T12" fmla="*/ 36 w 64"/>
                <a:gd name="T13" fmla="*/ 25 h 69"/>
              </a:gdLst>
              <a:ahLst/>
              <a:cxnLst>
                <a:cxn ang="0">
                  <a:pos x="T0" y="T1"/>
                </a:cxn>
                <a:cxn ang="0">
                  <a:pos x="T2" y="T3"/>
                </a:cxn>
                <a:cxn ang="0">
                  <a:pos x="T4" y="T5"/>
                </a:cxn>
                <a:cxn ang="0">
                  <a:pos x="T6" y="T7"/>
                </a:cxn>
                <a:cxn ang="0">
                  <a:pos x="T8" y="T9"/>
                </a:cxn>
                <a:cxn ang="0">
                  <a:pos x="T10" y="T11"/>
                </a:cxn>
                <a:cxn ang="0">
                  <a:pos x="T12" y="T13"/>
                </a:cxn>
              </a:cxnLst>
              <a:rect l="0" t="0" r="r" b="b"/>
              <a:pathLst>
                <a:path w="64" h="69">
                  <a:moveTo>
                    <a:pt x="36" y="25"/>
                  </a:moveTo>
                  <a:cubicBezTo>
                    <a:pt x="0" y="7"/>
                    <a:pt x="0" y="7"/>
                    <a:pt x="0" y="7"/>
                  </a:cubicBezTo>
                  <a:cubicBezTo>
                    <a:pt x="0" y="37"/>
                    <a:pt x="0" y="37"/>
                    <a:pt x="0" y="37"/>
                  </a:cubicBezTo>
                  <a:cubicBezTo>
                    <a:pt x="64" y="69"/>
                    <a:pt x="64" y="69"/>
                    <a:pt x="64" y="69"/>
                  </a:cubicBezTo>
                  <a:cubicBezTo>
                    <a:pt x="64" y="0"/>
                    <a:pt x="64" y="0"/>
                    <a:pt x="64" y="0"/>
                  </a:cubicBezTo>
                  <a:cubicBezTo>
                    <a:pt x="46" y="23"/>
                    <a:pt x="46" y="23"/>
                    <a:pt x="46" y="23"/>
                  </a:cubicBezTo>
                  <a:cubicBezTo>
                    <a:pt x="44" y="26"/>
                    <a:pt x="39" y="27"/>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9" name="Freeform 7"/>
            <p:cNvSpPr>
              <a:spLocks noEditPoints="1"/>
            </p:cNvSpPr>
            <p:nvPr/>
          </p:nvSpPr>
          <p:spPr bwMode="auto">
            <a:xfrm>
              <a:off x="5057" y="739"/>
              <a:ext cx="233" cy="234"/>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310 w 384"/>
                <a:gd name="T11" fmla="*/ 195 h 384"/>
                <a:gd name="T12" fmla="*/ 311 w 384"/>
                <a:gd name="T13" fmla="*/ 201 h 384"/>
                <a:gd name="T14" fmla="*/ 307 w 384"/>
                <a:gd name="T15" fmla="*/ 207 h 384"/>
                <a:gd name="T16" fmla="*/ 280 w 384"/>
                <a:gd name="T17" fmla="*/ 221 h 384"/>
                <a:gd name="T18" fmla="*/ 280 w 384"/>
                <a:gd name="T19" fmla="*/ 264 h 384"/>
                <a:gd name="T20" fmla="*/ 275 w 384"/>
                <a:gd name="T21" fmla="*/ 271 h 384"/>
                <a:gd name="T22" fmla="*/ 195 w 384"/>
                <a:gd name="T23" fmla="*/ 311 h 384"/>
                <a:gd name="T24" fmla="*/ 195 w 384"/>
                <a:gd name="T25" fmla="*/ 311 h 384"/>
                <a:gd name="T26" fmla="*/ 192 w 384"/>
                <a:gd name="T27" fmla="*/ 312 h 384"/>
                <a:gd name="T28" fmla="*/ 188 w 384"/>
                <a:gd name="T29" fmla="*/ 311 h 384"/>
                <a:gd name="T30" fmla="*/ 188 w 384"/>
                <a:gd name="T31" fmla="*/ 311 h 384"/>
                <a:gd name="T32" fmla="*/ 108 w 384"/>
                <a:gd name="T33" fmla="*/ 271 h 384"/>
                <a:gd name="T34" fmla="*/ 104 w 384"/>
                <a:gd name="T35" fmla="*/ 264 h 384"/>
                <a:gd name="T36" fmla="*/ 104 w 384"/>
                <a:gd name="T37" fmla="*/ 221 h 384"/>
                <a:gd name="T38" fmla="*/ 76 w 384"/>
                <a:gd name="T39" fmla="*/ 207 h 384"/>
                <a:gd name="T40" fmla="*/ 72 w 384"/>
                <a:gd name="T41" fmla="*/ 201 h 384"/>
                <a:gd name="T42" fmla="*/ 73 w 384"/>
                <a:gd name="T43" fmla="*/ 195 h 384"/>
                <a:gd name="T44" fmla="*/ 101 w 384"/>
                <a:gd name="T45" fmla="*/ 160 h 384"/>
                <a:gd name="T46" fmla="*/ 73 w 384"/>
                <a:gd name="T47" fmla="*/ 125 h 384"/>
                <a:gd name="T48" fmla="*/ 72 w 384"/>
                <a:gd name="T49" fmla="*/ 118 h 384"/>
                <a:gd name="T50" fmla="*/ 76 w 384"/>
                <a:gd name="T51" fmla="*/ 113 h 384"/>
                <a:gd name="T52" fmla="*/ 156 w 384"/>
                <a:gd name="T53" fmla="*/ 73 h 384"/>
                <a:gd name="T54" fmla="*/ 166 w 384"/>
                <a:gd name="T55" fmla="*/ 75 h 384"/>
                <a:gd name="T56" fmla="*/ 192 w 384"/>
                <a:gd name="T57" fmla="*/ 107 h 384"/>
                <a:gd name="T58" fmla="*/ 217 w 384"/>
                <a:gd name="T59" fmla="*/ 75 h 384"/>
                <a:gd name="T60" fmla="*/ 227 w 384"/>
                <a:gd name="T61" fmla="*/ 73 h 384"/>
                <a:gd name="T62" fmla="*/ 307 w 384"/>
                <a:gd name="T63" fmla="*/ 113 h 384"/>
                <a:gd name="T64" fmla="*/ 311 w 384"/>
                <a:gd name="T65" fmla="*/ 118 h 384"/>
                <a:gd name="T66" fmla="*/ 310 w 384"/>
                <a:gd name="T67" fmla="*/ 125 h 384"/>
                <a:gd name="T68" fmla="*/ 282 w 384"/>
                <a:gd name="T69" fmla="*/ 160 h 384"/>
                <a:gd name="T70" fmla="*/ 310 w 384"/>
                <a:gd name="T71" fmla="*/ 19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310" y="195"/>
                  </a:moveTo>
                  <a:cubicBezTo>
                    <a:pt x="311" y="197"/>
                    <a:pt x="312" y="199"/>
                    <a:pt x="311" y="201"/>
                  </a:cubicBezTo>
                  <a:cubicBezTo>
                    <a:pt x="311" y="204"/>
                    <a:pt x="309" y="206"/>
                    <a:pt x="307" y="207"/>
                  </a:cubicBezTo>
                  <a:cubicBezTo>
                    <a:pt x="280" y="221"/>
                    <a:pt x="280" y="221"/>
                    <a:pt x="280" y="221"/>
                  </a:cubicBezTo>
                  <a:cubicBezTo>
                    <a:pt x="280" y="264"/>
                    <a:pt x="280" y="264"/>
                    <a:pt x="280" y="264"/>
                  </a:cubicBezTo>
                  <a:cubicBezTo>
                    <a:pt x="280" y="267"/>
                    <a:pt x="278" y="269"/>
                    <a:pt x="275" y="271"/>
                  </a:cubicBezTo>
                  <a:cubicBezTo>
                    <a:pt x="195" y="311"/>
                    <a:pt x="195" y="311"/>
                    <a:pt x="195" y="311"/>
                  </a:cubicBezTo>
                  <a:cubicBezTo>
                    <a:pt x="195" y="311"/>
                    <a:pt x="195" y="311"/>
                    <a:pt x="195" y="311"/>
                  </a:cubicBezTo>
                  <a:cubicBezTo>
                    <a:pt x="194" y="311"/>
                    <a:pt x="193" y="312"/>
                    <a:pt x="192" y="312"/>
                  </a:cubicBezTo>
                  <a:cubicBezTo>
                    <a:pt x="191" y="312"/>
                    <a:pt x="189" y="311"/>
                    <a:pt x="188" y="311"/>
                  </a:cubicBezTo>
                  <a:cubicBezTo>
                    <a:pt x="188" y="311"/>
                    <a:pt x="188" y="311"/>
                    <a:pt x="188" y="311"/>
                  </a:cubicBezTo>
                  <a:cubicBezTo>
                    <a:pt x="108" y="271"/>
                    <a:pt x="108" y="271"/>
                    <a:pt x="108" y="271"/>
                  </a:cubicBezTo>
                  <a:cubicBezTo>
                    <a:pt x="105" y="269"/>
                    <a:pt x="104" y="267"/>
                    <a:pt x="104" y="264"/>
                  </a:cubicBezTo>
                  <a:cubicBezTo>
                    <a:pt x="104" y="221"/>
                    <a:pt x="104" y="221"/>
                    <a:pt x="104" y="221"/>
                  </a:cubicBezTo>
                  <a:cubicBezTo>
                    <a:pt x="76" y="207"/>
                    <a:pt x="76" y="207"/>
                    <a:pt x="76" y="207"/>
                  </a:cubicBezTo>
                  <a:cubicBezTo>
                    <a:pt x="74" y="206"/>
                    <a:pt x="72" y="204"/>
                    <a:pt x="72" y="201"/>
                  </a:cubicBezTo>
                  <a:cubicBezTo>
                    <a:pt x="71" y="199"/>
                    <a:pt x="72" y="197"/>
                    <a:pt x="73" y="195"/>
                  </a:cubicBezTo>
                  <a:cubicBezTo>
                    <a:pt x="101" y="160"/>
                    <a:pt x="101" y="160"/>
                    <a:pt x="101" y="160"/>
                  </a:cubicBezTo>
                  <a:cubicBezTo>
                    <a:pt x="73" y="125"/>
                    <a:pt x="73" y="125"/>
                    <a:pt x="73" y="125"/>
                  </a:cubicBezTo>
                  <a:cubicBezTo>
                    <a:pt x="72" y="123"/>
                    <a:pt x="71" y="120"/>
                    <a:pt x="72" y="118"/>
                  </a:cubicBezTo>
                  <a:cubicBezTo>
                    <a:pt x="72" y="116"/>
                    <a:pt x="74" y="114"/>
                    <a:pt x="76" y="113"/>
                  </a:cubicBezTo>
                  <a:cubicBezTo>
                    <a:pt x="156" y="73"/>
                    <a:pt x="156" y="73"/>
                    <a:pt x="156" y="73"/>
                  </a:cubicBezTo>
                  <a:cubicBezTo>
                    <a:pt x="159" y="71"/>
                    <a:pt x="164" y="72"/>
                    <a:pt x="166" y="75"/>
                  </a:cubicBezTo>
                  <a:cubicBezTo>
                    <a:pt x="192" y="107"/>
                    <a:pt x="192" y="107"/>
                    <a:pt x="192" y="107"/>
                  </a:cubicBezTo>
                  <a:cubicBezTo>
                    <a:pt x="217" y="75"/>
                    <a:pt x="217" y="75"/>
                    <a:pt x="217" y="75"/>
                  </a:cubicBezTo>
                  <a:cubicBezTo>
                    <a:pt x="220" y="72"/>
                    <a:pt x="224" y="71"/>
                    <a:pt x="227" y="73"/>
                  </a:cubicBezTo>
                  <a:cubicBezTo>
                    <a:pt x="307" y="113"/>
                    <a:pt x="307" y="113"/>
                    <a:pt x="307" y="113"/>
                  </a:cubicBezTo>
                  <a:cubicBezTo>
                    <a:pt x="309" y="114"/>
                    <a:pt x="311" y="116"/>
                    <a:pt x="311" y="118"/>
                  </a:cubicBezTo>
                  <a:cubicBezTo>
                    <a:pt x="312" y="120"/>
                    <a:pt x="311" y="123"/>
                    <a:pt x="310" y="125"/>
                  </a:cubicBezTo>
                  <a:cubicBezTo>
                    <a:pt x="282" y="160"/>
                    <a:pt x="282" y="160"/>
                    <a:pt x="282" y="160"/>
                  </a:cubicBezTo>
                  <a:lnTo>
                    <a:pt x="310" y="19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10" name="Freeform 8"/>
            <p:cNvSpPr>
              <a:spLocks/>
            </p:cNvSpPr>
            <p:nvPr/>
          </p:nvSpPr>
          <p:spPr bwMode="auto">
            <a:xfrm>
              <a:off x="5178" y="874"/>
              <a:ext cx="39" cy="42"/>
            </a:xfrm>
            <a:custGeom>
              <a:avLst/>
              <a:gdLst>
                <a:gd name="T0" fmla="*/ 24 w 64"/>
                <a:gd name="T1" fmla="*/ 26 h 69"/>
                <a:gd name="T2" fmla="*/ 24 w 64"/>
                <a:gd name="T3" fmla="*/ 26 h 69"/>
                <a:gd name="T4" fmla="*/ 23 w 64"/>
                <a:gd name="T5" fmla="*/ 26 h 69"/>
                <a:gd name="T6" fmla="*/ 21 w 64"/>
                <a:gd name="T7" fmla="*/ 25 h 69"/>
                <a:gd name="T8" fmla="*/ 20 w 64"/>
                <a:gd name="T9" fmla="*/ 25 h 69"/>
                <a:gd name="T10" fmla="*/ 17 w 64"/>
                <a:gd name="T11" fmla="*/ 23 h 69"/>
                <a:gd name="T12" fmla="*/ 0 w 64"/>
                <a:gd name="T13" fmla="*/ 0 h 69"/>
                <a:gd name="T14" fmla="*/ 0 w 64"/>
                <a:gd name="T15" fmla="*/ 69 h 69"/>
                <a:gd name="T16" fmla="*/ 64 w 64"/>
                <a:gd name="T17" fmla="*/ 37 h 69"/>
                <a:gd name="T18" fmla="*/ 64 w 64"/>
                <a:gd name="T19" fmla="*/ 7 h 69"/>
                <a:gd name="T20" fmla="*/ 27 w 64"/>
                <a:gd name="T21" fmla="*/ 25 h 69"/>
                <a:gd name="T22" fmla="*/ 24 w 64"/>
                <a:gd name="T2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9">
                  <a:moveTo>
                    <a:pt x="24" y="26"/>
                  </a:moveTo>
                  <a:cubicBezTo>
                    <a:pt x="24" y="26"/>
                    <a:pt x="24" y="26"/>
                    <a:pt x="24" y="26"/>
                  </a:cubicBezTo>
                  <a:cubicBezTo>
                    <a:pt x="23" y="26"/>
                    <a:pt x="23" y="26"/>
                    <a:pt x="23" y="26"/>
                  </a:cubicBezTo>
                  <a:cubicBezTo>
                    <a:pt x="22" y="25"/>
                    <a:pt x="22" y="25"/>
                    <a:pt x="21" y="25"/>
                  </a:cubicBezTo>
                  <a:cubicBezTo>
                    <a:pt x="21" y="25"/>
                    <a:pt x="20" y="25"/>
                    <a:pt x="20" y="25"/>
                  </a:cubicBezTo>
                  <a:cubicBezTo>
                    <a:pt x="19" y="24"/>
                    <a:pt x="18" y="24"/>
                    <a:pt x="17" y="23"/>
                  </a:cubicBezTo>
                  <a:cubicBezTo>
                    <a:pt x="0" y="0"/>
                    <a:pt x="0" y="0"/>
                    <a:pt x="0" y="0"/>
                  </a:cubicBezTo>
                  <a:cubicBezTo>
                    <a:pt x="0" y="69"/>
                    <a:pt x="0" y="69"/>
                    <a:pt x="0" y="69"/>
                  </a:cubicBezTo>
                  <a:cubicBezTo>
                    <a:pt x="64" y="37"/>
                    <a:pt x="64" y="37"/>
                    <a:pt x="64" y="37"/>
                  </a:cubicBezTo>
                  <a:cubicBezTo>
                    <a:pt x="64" y="7"/>
                    <a:pt x="64" y="7"/>
                    <a:pt x="64" y="7"/>
                  </a:cubicBezTo>
                  <a:cubicBezTo>
                    <a:pt x="27" y="25"/>
                    <a:pt x="27" y="25"/>
                    <a:pt x="27" y="25"/>
                  </a:cubicBezTo>
                  <a:cubicBezTo>
                    <a:pt x="26" y="25"/>
                    <a:pt x="25" y="26"/>
                    <a:pt x="24"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11" name="Freeform 9"/>
            <p:cNvSpPr>
              <a:spLocks/>
            </p:cNvSpPr>
            <p:nvPr/>
          </p:nvSpPr>
          <p:spPr bwMode="auto">
            <a:xfrm>
              <a:off x="5113" y="843"/>
              <a:ext cx="53" cy="36"/>
            </a:xfrm>
            <a:custGeom>
              <a:avLst/>
              <a:gdLst>
                <a:gd name="T0" fmla="*/ 87 w 87"/>
                <a:gd name="T1" fmla="*/ 32 h 59"/>
                <a:gd name="T2" fmla="*/ 22 w 87"/>
                <a:gd name="T3" fmla="*/ 0 h 59"/>
                <a:gd name="T4" fmla="*/ 0 w 87"/>
                <a:gd name="T5" fmla="*/ 27 h 59"/>
                <a:gd name="T6" fmla="*/ 23 w 87"/>
                <a:gd name="T7" fmla="*/ 38 h 59"/>
                <a:gd name="T8" fmla="*/ 23 w 87"/>
                <a:gd name="T9" fmla="*/ 38 h 59"/>
                <a:gd name="T10" fmla="*/ 65 w 87"/>
                <a:gd name="T11" fmla="*/ 59 h 59"/>
                <a:gd name="T12" fmla="*/ 87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87" y="32"/>
                  </a:moveTo>
                  <a:cubicBezTo>
                    <a:pt x="22" y="0"/>
                    <a:pt x="22" y="0"/>
                    <a:pt x="22" y="0"/>
                  </a:cubicBezTo>
                  <a:cubicBezTo>
                    <a:pt x="0" y="27"/>
                    <a:pt x="0" y="27"/>
                    <a:pt x="0" y="27"/>
                  </a:cubicBezTo>
                  <a:cubicBezTo>
                    <a:pt x="23" y="38"/>
                    <a:pt x="23" y="38"/>
                    <a:pt x="23" y="38"/>
                  </a:cubicBezTo>
                  <a:cubicBezTo>
                    <a:pt x="23" y="38"/>
                    <a:pt x="23" y="38"/>
                    <a:pt x="23" y="38"/>
                  </a:cubicBezTo>
                  <a:cubicBezTo>
                    <a:pt x="65" y="59"/>
                    <a:pt x="65" y="59"/>
                    <a:pt x="65" y="59"/>
                  </a:cubicBezTo>
                  <a:lnTo>
                    <a:pt x="87"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12" name="Freeform 10"/>
            <p:cNvSpPr>
              <a:spLocks/>
            </p:cNvSpPr>
            <p:nvPr/>
          </p:nvSpPr>
          <p:spPr bwMode="auto">
            <a:xfrm>
              <a:off x="5113" y="794"/>
              <a:ext cx="53" cy="36"/>
            </a:xfrm>
            <a:custGeom>
              <a:avLst/>
              <a:gdLst>
                <a:gd name="T0" fmla="*/ 53 w 53"/>
                <a:gd name="T1" fmla="*/ 16 h 36"/>
                <a:gd name="T2" fmla="*/ 39 w 53"/>
                <a:gd name="T3" fmla="*/ 0 h 36"/>
                <a:gd name="T4" fmla="*/ 0 w 53"/>
                <a:gd name="T5" fmla="*/ 19 h 36"/>
                <a:gd name="T6" fmla="*/ 13 w 53"/>
                <a:gd name="T7" fmla="*/ 36 h 36"/>
                <a:gd name="T8" fmla="*/ 53 w 53"/>
                <a:gd name="T9" fmla="*/ 16 h 36"/>
              </a:gdLst>
              <a:ahLst/>
              <a:cxnLst>
                <a:cxn ang="0">
                  <a:pos x="T0" y="T1"/>
                </a:cxn>
                <a:cxn ang="0">
                  <a:pos x="T2" y="T3"/>
                </a:cxn>
                <a:cxn ang="0">
                  <a:pos x="T4" y="T5"/>
                </a:cxn>
                <a:cxn ang="0">
                  <a:pos x="T6" y="T7"/>
                </a:cxn>
                <a:cxn ang="0">
                  <a:pos x="T8" y="T9"/>
                </a:cxn>
              </a:cxnLst>
              <a:rect l="0" t="0" r="r" b="b"/>
              <a:pathLst>
                <a:path w="53" h="36">
                  <a:moveTo>
                    <a:pt x="53" y="16"/>
                  </a:moveTo>
                  <a:lnTo>
                    <a:pt x="39" y="0"/>
                  </a:lnTo>
                  <a:lnTo>
                    <a:pt x="0" y="19"/>
                  </a:lnTo>
                  <a:lnTo>
                    <a:pt x="13" y="36"/>
                  </a:lnTo>
                  <a:lnTo>
                    <a:pt x="53"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13" name="Freeform 11"/>
            <p:cNvSpPr>
              <a:spLocks/>
            </p:cNvSpPr>
            <p:nvPr/>
          </p:nvSpPr>
          <p:spPr bwMode="auto">
            <a:xfrm>
              <a:off x="5181" y="843"/>
              <a:ext cx="53" cy="36"/>
            </a:xfrm>
            <a:custGeom>
              <a:avLst/>
              <a:gdLst>
                <a:gd name="T0" fmla="*/ 0 w 87"/>
                <a:gd name="T1" fmla="*/ 32 h 59"/>
                <a:gd name="T2" fmla="*/ 22 w 87"/>
                <a:gd name="T3" fmla="*/ 59 h 59"/>
                <a:gd name="T4" fmla="*/ 64 w 87"/>
                <a:gd name="T5" fmla="*/ 38 h 59"/>
                <a:gd name="T6" fmla="*/ 64 w 87"/>
                <a:gd name="T7" fmla="*/ 38 h 59"/>
                <a:gd name="T8" fmla="*/ 87 w 87"/>
                <a:gd name="T9" fmla="*/ 26 h 59"/>
                <a:gd name="T10" fmla="*/ 65 w 87"/>
                <a:gd name="T11" fmla="*/ 0 h 59"/>
                <a:gd name="T12" fmla="*/ 0 w 87"/>
                <a:gd name="T13" fmla="*/ 32 h 59"/>
              </a:gdLst>
              <a:ahLst/>
              <a:cxnLst>
                <a:cxn ang="0">
                  <a:pos x="T0" y="T1"/>
                </a:cxn>
                <a:cxn ang="0">
                  <a:pos x="T2" y="T3"/>
                </a:cxn>
                <a:cxn ang="0">
                  <a:pos x="T4" y="T5"/>
                </a:cxn>
                <a:cxn ang="0">
                  <a:pos x="T6" y="T7"/>
                </a:cxn>
                <a:cxn ang="0">
                  <a:pos x="T8" y="T9"/>
                </a:cxn>
                <a:cxn ang="0">
                  <a:pos x="T10" y="T11"/>
                </a:cxn>
                <a:cxn ang="0">
                  <a:pos x="T12" y="T13"/>
                </a:cxn>
              </a:cxnLst>
              <a:rect l="0" t="0" r="r" b="b"/>
              <a:pathLst>
                <a:path w="87" h="59">
                  <a:moveTo>
                    <a:pt x="0" y="32"/>
                  </a:moveTo>
                  <a:cubicBezTo>
                    <a:pt x="22" y="59"/>
                    <a:pt x="22" y="59"/>
                    <a:pt x="22" y="59"/>
                  </a:cubicBezTo>
                  <a:cubicBezTo>
                    <a:pt x="64" y="38"/>
                    <a:pt x="64" y="38"/>
                    <a:pt x="64" y="38"/>
                  </a:cubicBezTo>
                  <a:cubicBezTo>
                    <a:pt x="64" y="38"/>
                    <a:pt x="64" y="38"/>
                    <a:pt x="64" y="38"/>
                  </a:cubicBezTo>
                  <a:cubicBezTo>
                    <a:pt x="87" y="26"/>
                    <a:pt x="87" y="26"/>
                    <a:pt x="87" y="26"/>
                  </a:cubicBezTo>
                  <a:cubicBezTo>
                    <a:pt x="65" y="0"/>
                    <a:pt x="65" y="0"/>
                    <a:pt x="65" y="0"/>
                  </a:cubicBezTo>
                  <a:lnTo>
                    <a:pt x="0" y="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14" name="Freeform 12"/>
            <p:cNvSpPr>
              <a:spLocks/>
            </p:cNvSpPr>
            <p:nvPr/>
          </p:nvSpPr>
          <p:spPr bwMode="auto">
            <a:xfrm>
              <a:off x="5181" y="794"/>
              <a:ext cx="53" cy="36"/>
            </a:xfrm>
            <a:custGeom>
              <a:avLst/>
              <a:gdLst>
                <a:gd name="T0" fmla="*/ 0 w 53"/>
                <a:gd name="T1" fmla="*/ 16 h 36"/>
                <a:gd name="T2" fmla="*/ 39 w 53"/>
                <a:gd name="T3" fmla="*/ 36 h 36"/>
                <a:gd name="T4" fmla="*/ 53 w 53"/>
                <a:gd name="T5" fmla="*/ 19 h 36"/>
                <a:gd name="T6" fmla="*/ 13 w 53"/>
                <a:gd name="T7" fmla="*/ 0 h 36"/>
                <a:gd name="T8" fmla="*/ 0 w 53"/>
                <a:gd name="T9" fmla="*/ 16 h 36"/>
              </a:gdLst>
              <a:ahLst/>
              <a:cxnLst>
                <a:cxn ang="0">
                  <a:pos x="T0" y="T1"/>
                </a:cxn>
                <a:cxn ang="0">
                  <a:pos x="T2" y="T3"/>
                </a:cxn>
                <a:cxn ang="0">
                  <a:pos x="T4" y="T5"/>
                </a:cxn>
                <a:cxn ang="0">
                  <a:pos x="T6" y="T7"/>
                </a:cxn>
                <a:cxn ang="0">
                  <a:pos x="T8" y="T9"/>
                </a:cxn>
              </a:cxnLst>
              <a:rect l="0" t="0" r="r" b="b"/>
              <a:pathLst>
                <a:path w="53" h="36">
                  <a:moveTo>
                    <a:pt x="0" y="16"/>
                  </a:moveTo>
                  <a:lnTo>
                    <a:pt x="39" y="36"/>
                  </a:lnTo>
                  <a:lnTo>
                    <a:pt x="53" y="19"/>
                  </a:lnTo>
                  <a:lnTo>
                    <a:pt x="13"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grpSp>
      <p:pic>
        <p:nvPicPr>
          <p:cNvPr id="15" name="DeloitteW">
            <a:extLst>
              <a:ext uri="{FF2B5EF4-FFF2-40B4-BE49-F238E27FC236}">
                <a16:creationId xmlns:a16="http://schemas.microsoft.com/office/drawing/2014/main" id="{549B59CE-C0A3-4CDE-925C-091E724784BB}"/>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grpSp>
        <p:nvGrpSpPr>
          <p:cNvPr id="17" name="Group 16">
            <a:extLst>
              <a:ext uri="{FF2B5EF4-FFF2-40B4-BE49-F238E27FC236}">
                <a16:creationId xmlns:a16="http://schemas.microsoft.com/office/drawing/2014/main" id="{6183D379-4E14-4CE5-B795-0B2C719A286A}"/>
              </a:ext>
            </a:extLst>
          </p:cNvPr>
          <p:cNvGrpSpPr>
            <a:grpSpLocks/>
          </p:cNvGrpSpPr>
          <p:nvPr/>
        </p:nvGrpSpPr>
        <p:grpSpPr bwMode="auto">
          <a:xfrm>
            <a:off x="537852" y="3318180"/>
            <a:ext cx="7994650" cy="3124200"/>
            <a:chOff x="792" y="1104"/>
            <a:chExt cx="3106" cy="1440"/>
          </a:xfrm>
        </p:grpSpPr>
        <p:sp>
          <p:nvSpPr>
            <p:cNvPr id="18" name="Freeform 5">
              <a:extLst>
                <a:ext uri="{FF2B5EF4-FFF2-40B4-BE49-F238E27FC236}">
                  <a16:creationId xmlns:a16="http://schemas.microsoft.com/office/drawing/2014/main" id="{4A11E468-57F8-48C3-9298-18736BAB71C5}"/>
                </a:ext>
              </a:extLst>
            </p:cNvPr>
            <p:cNvSpPr>
              <a:spLocks/>
            </p:cNvSpPr>
            <p:nvPr/>
          </p:nvSpPr>
          <p:spPr bwMode="auto">
            <a:xfrm>
              <a:off x="793" y="1115"/>
              <a:ext cx="314" cy="204"/>
            </a:xfrm>
            <a:custGeom>
              <a:avLst/>
              <a:gdLst>
                <a:gd name="T0" fmla="*/ 284 w 568"/>
                <a:gd name="T1" fmla="*/ 0 h 408"/>
                <a:gd name="T2" fmla="*/ 568 w 568"/>
                <a:gd name="T3" fmla="*/ 408 h 408"/>
                <a:gd name="T4" fmla="*/ 0 w 568"/>
                <a:gd name="T5" fmla="*/ 408 h 408"/>
                <a:gd name="T6" fmla="*/ 284 w 568"/>
                <a:gd name="T7" fmla="*/ 0 h 408"/>
                <a:gd name="T8" fmla="*/ 0 60000 65536"/>
                <a:gd name="T9" fmla="*/ 0 60000 65536"/>
                <a:gd name="T10" fmla="*/ 0 60000 65536"/>
                <a:gd name="T11" fmla="*/ 0 60000 65536"/>
                <a:gd name="T12" fmla="*/ 0 w 568"/>
                <a:gd name="T13" fmla="*/ 0 h 408"/>
                <a:gd name="T14" fmla="*/ 568 w 568"/>
                <a:gd name="T15" fmla="*/ 408 h 408"/>
              </a:gdLst>
              <a:ahLst/>
              <a:cxnLst>
                <a:cxn ang="T8">
                  <a:pos x="T0" y="T1"/>
                </a:cxn>
                <a:cxn ang="T9">
                  <a:pos x="T2" y="T3"/>
                </a:cxn>
                <a:cxn ang="T10">
                  <a:pos x="T4" y="T5"/>
                </a:cxn>
                <a:cxn ang="T11">
                  <a:pos x="T6" y="T7"/>
                </a:cxn>
              </a:cxnLst>
              <a:rect l="T12" t="T13" r="T14" b="T15"/>
              <a:pathLst>
                <a:path w="568" h="408">
                  <a:moveTo>
                    <a:pt x="284" y="0"/>
                  </a:moveTo>
                  <a:lnTo>
                    <a:pt x="568" y="408"/>
                  </a:lnTo>
                  <a:lnTo>
                    <a:pt x="0" y="408"/>
                  </a:lnTo>
                  <a:lnTo>
                    <a:pt x="284" y="0"/>
                  </a:lnTo>
                  <a:close/>
                </a:path>
              </a:pathLst>
            </a:custGeom>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defRPr/>
              </a:pPr>
              <a:endParaRPr lang="en-US" sz="1200">
                <a:solidFill>
                  <a:srgbClr val="92D050"/>
                </a:solidFill>
              </a:endParaRPr>
            </a:p>
          </p:txBody>
        </p:sp>
        <p:sp>
          <p:nvSpPr>
            <p:cNvPr id="19" name="Freeform 6">
              <a:extLst>
                <a:ext uri="{FF2B5EF4-FFF2-40B4-BE49-F238E27FC236}">
                  <a16:creationId xmlns:a16="http://schemas.microsoft.com/office/drawing/2014/main" id="{27C10D38-F9FE-4D04-8A41-E58407BEA9A5}"/>
                </a:ext>
              </a:extLst>
            </p:cNvPr>
            <p:cNvSpPr>
              <a:spLocks/>
            </p:cNvSpPr>
            <p:nvPr/>
          </p:nvSpPr>
          <p:spPr bwMode="auto">
            <a:xfrm>
              <a:off x="818" y="1763"/>
              <a:ext cx="267" cy="254"/>
            </a:xfrm>
            <a:custGeom>
              <a:avLst/>
              <a:gdLst>
                <a:gd name="T0" fmla="*/ 230 w 459"/>
                <a:gd name="T1" fmla="*/ 0 h 509"/>
                <a:gd name="T2" fmla="*/ 253 w 459"/>
                <a:gd name="T3" fmla="*/ 1 h 509"/>
                <a:gd name="T4" fmla="*/ 277 w 459"/>
                <a:gd name="T5" fmla="*/ 5 h 509"/>
                <a:gd name="T6" fmla="*/ 298 w 459"/>
                <a:gd name="T7" fmla="*/ 11 h 509"/>
                <a:gd name="T8" fmla="*/ 320 w 459"/>
                <a:gd name="T9" fmla="*/ 20 h 509"/>
                <a:gd name="T10" fmla="*/ 340 w 459"/>
                <a:gd name="T11" fmla="*/ 31 h 509"/>
                <a:gd name="T12" fmla="*/ 358 w 459"/>
                <a:gd name="T13" fmla="*/ 43 h 509"/>
                <a:gd name="T14" fmla="*/ 375 w 459"/>
                <a:gd name="T15" fmla="*/ 58 h 509"/>
                <a:gd name="T16" fmla="*/ 393 w 459"/>
                <a:gd name="T17" fmla="*/ 74 h 509"/>
                <a:gd name="T18" fmla="*/ 407 w 459"/>
                <a:gd name="T19" fmla="*/ 93 h 509"/>
                <a:gd name="T20" fmla="*/ 420 w 459"/>
                <a:gd name="T21" fmla="*/ 112 h 509"/>
                <a:gd name="T22" fmla="*/ 432 w 459"/>
                <a:gd name="T23" fmla="*/ 133 h 509"/>
                <a:gd name="T24" fmla="*/ 441 w 459"/>
                <a:gd name="T25" fmla="*/ 155 h 509"/>
                <a:gd name="T26" fmla="*/ 449 w 459"/>
                <a:gd name="T27" fmla="*/ 179 h 509"/>
                <a:gd name="T28" fmla="*/ 454 w 459"/>
                <a:gd name="T29" fmla="*/ 202 h 509"/>
                <a:gd name="T30" fmla="*/ 458 w 459"/>
                <a:gd name="T31" fmla="*/ 228 h 509"/>
                <a:gd name="T32" fmla="*/ 459 w 459"/>
                <a:gd name="T33" fmla="*/ 254 h 509"/>
                <a:gd name="T34" fmla="*/ 458 w 459"/>
                <a:gd name="T35" fmla="*/ 280 h 509"/>
                <a:gd name="T36" fmla="*/ 454 w 459"/>
                <a:gd name="T37" fmla="*/ 306 h 509"/>
                <a:gd name="T38" fmla="*/ 449 w 459"/>
                <a:gd name="T39" fmla="*/ 330 h 509"/>
                <a:gd name="T40" fmla="*/ 441 w 459"/>
                <a:gd name="T41" fmla="*/ 354 h 509"/>
                <a:gd name="T42" fmla="*/ 432 w 459"/>
                <a:gd name="T43" fmla="*/ 376 h 509"/>
                <a:gd name="T44" fmla="*/ 420 w 459"/>
                <a:gd name="T45" fmla="*/ 397 h 509"/>
                <a:gd name="T46" fmla="*/ 407 w 459"/>
                <a:gd name="T47" fmla="*/ 417 h 509"/>
                <a:gd name="T48" fmla="*/ 393 w 459"/>
                <a:gd name="T49" fmla="*/ 435 h 509"/>
                <a:gd name="T50" fmla="*/ 375 w 459"/>
                <a:gd name="T51" fmla="*/ 451 h 509"/>
                <a:gd name="T52" fmla="*/ 358 w 459"/>
                <a:gd name="T53" fmla="*/ 466 h 509"/>
                <a:gd name="T54" fmla="*/ 340 w 459"/>
                <a:gd name="T55" fmla="*/ 478 h 509"/>
                <a:gd name="T56" fmla="*/ 320 w 459"/>
                <a:gd name="T57" fmla="*/ 489 h 509"/>
                <a:gd name="T58" fmla="*/ 298 w 459"/>
                <a:gd name="T59" fmla="*/ 498 h 509"/>
                <a:gd name="T60" fmla="*/ 277 w 459"/>
                <a:gd name="T61" fmla="*/ 504 h 509"/>
                <a:gd name="T62" fmla="*/ 253 w 459"/>
                <a:gd name="T63" fmla="*/ 508 h 509"/>
                <a:gd name="T64" fmla="*/ 230 w 459"/>
                <a:gd name="T65" fmla="*/ 509 h 509"/>
                <a:gd name="T66" fmla="*/ 0 w 459"/>
                <a:gd name="T67" fmla="*/ 509 h 509"/>
                <a:gd name="T68" fmla="*/ 0 w 459"/>
                <a:gd name="T69" fmla="*/ 0 h 509"/>
                <a:gd name="T70" fmla="*/ 230 w 459"/>
                <a:gd name="T71" fmla="*/ 0 h 5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59"/>
                <a:gd name="T109" fmla="*/ 0 h 509"/>
                <a:gd name="T110" fmla="*/ 459 w 459"/>
                <a:gd name="T111" fmla="*/ 509 h 5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59" h="509">
                  <a:moveTo>
                    <a:pt x="230" y="0"/>
                  </a:moveTo>
                  <a:lnTo>
                    <a:pt x="253" y="1"/>
                  </a:lnTo>
                  <a:lnTo>
                    <a:pt x="277" y="5"/>
                  </a:lnTo>
                  <a:lnTo>
                    <a:pt x="298" y="11"/>
                  </a:lnTo>
                  <a:lnTo>
                    <a:pt x="320" y="20"/>
                  </a:lnTo>
                  <a:lnTo>
                    <a:pt x="340" y="31"/>
                  </a:lnTo>
                  <a:lnTo>
                    <a:pt x="358" y="43"/>
                  </a:lnTo>
                  <a:lnTo>
                    <a:pt x="375" y="58"/>
                  </a:lnTo>
                  <a:lnTo>
                    <a:pt x="393" y="74"/>
                  </a:lnTo>
                  <a:lnTo>
                    <a:pt x="407" y="93"/>
                  </a:lnTo>
                  <a:lnTo>
                    <a:pt x="420" y="112"/>
                  </a:lnTo>
                  <a:lnTo>
                    <a:pt x="432" y="133"/>
                  </a:lnTo>
                  <a:lnTo>
                    <a:pt x="441" y="155"/>
                  </a:lnTo>
                  <a:lnTo>
                    <a:pt x="449" y="179"/>
                  </a:lnTo>
                  <a:lnTo>
                    <a:pt x="454" y="202"/>
                  </a:lnTo>
                  <a:lnTo>
                    <a:pt x="458" y="228"/>
                  </a:lnTo>
                  <a:lnTo>
                    <a:pt x="459" y="254"/>
                  </a:lnTo>
                  <a:lnTo>
                    <a:pt x="458" y="280"/>
                  </a:lnTo>
                  <a:lnTo>
                    <a:pt x="454" y="306"/>
                  </a:lnTo>
                  <a:lnTo>
                    <a:pt x="449" y="330"/>
                  </a:lnTo>
                  <a:lnTo>
                    <a:pt x="441" y="354"/>
                  </a:lnTo>
                  <a:lnTo>
                    <a:pt x="432" y="376"/>
                  </a:lnTo>
                  <a:lnTo>
                    <a:pt x="420" y="397"/>
                  </a:lnTo>
                  <a:lnTo>
                    <a:pt x="407" y="417"/>
                  </a:lnTo>
                  <a:lnTo>
                    <a:pt x="393" y="435"/>
                  </a:lnTo>
                  <a:lnTo>
                    <a:pt x="375" y="451"/>
                  </a:lnTo>
                  <a:lnTo>
                    <a:pt x="358" y="466"/>
                  </a:lnTo>
                  <a:lnTo>
                    <a:pt x="340" y="478"/>
                  </a:lnTo>
                  <a:lnTo>
                    <a:pt x="320" y="489"/>
                  </a:lnTo>
                  <a:lnTo>
                    <a:pt x="298" y="498"/>
                  </a:lnTo>
                  <a:lnTo>
                    <a:pt x="277" y="504"/>
                  </a:lnTo>
                  <a:lnTo>
                    <a:pt x="253" y="508"/>
                  </a:lnTo>
                  <a:lnTo>
                    <a:pt x="230" y="509"/>
                  </a:lnTo>
                  <a:lnTo>
                    <a:pt x="0" y="509"/>
                  </a:lnTo>
                  <a:lnTo>
                    <a:pt x="0" y="0"/>
                  </a:lnTo>
                  <a:lnTo>
                    <a:pt x="230" y="0"/>
                  </a:lnTo>
                  <a:close/>
                </a:path>
              </a:pathLst>
            </a:custGeom>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defRPr/>
              </a:pPr>
              <a:endParaRPr lang="en-US" sz="1200">
                <a:solidFill>
                  <a:srgbClr val="92D050"/>
                </a:solidFill>
              </a:endParaRPr>
            </a:p>
          </p:txBody>
        </p:sp>
        <p:sp>
          <p:nvSpPr>
            <p:cNvPr id="20" name="Oval 19">
              <a:extLst>
                <a:ext uri="{FF2B5EF4-FFF2-40B4-BE49-F238E27FC236}">
                  <a16:creationId xmlns:a16="http://schemas.microsoft.com/office/drawing/2014/main" id="{5B44FE0D-B304-4005-92CA-33CECE8E0FB9}"/>
                </a:ext>
              </a:extLst>
            </p:cNvPr>
            <p:cNvSpPr>
              <a:spLocks noChangeArrowheads="1"/>
            </p:cNvSpPr>
            <p:nvPr/>
          </p:nvSpPr>
          <p:spPr bwMode="auto">
            <a:xfrm>
              <a:off x="792" y="1422"/>
              <a:ext cx="315" cy="260"/>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1200">
                <a:solidFill>
                  <a:srgbClr val="92D050"/>
                </a:solidFill>
                <a:latin typeface="+mn-lt"/>
              </a:endParaRPr>
            </a:p>
          </p:txBody>
        </p:sp>
        <p:sp>
          <p:nvSpPr>
            <p:cNvPr id="21" name="Rectangle 20">
              <a:extLst>
                <a:ext uri="{FF2B5EF4-FFF2-40B4-BE49-F238E27FC236}">
                  <a16:creationId xmlns:a16="http://schemas.microsoft.com/office/drawing/2014/main" id="{CE2D5090-BE05-4CAA-B619-160A49BC0547}"/>
                </a:ext>
              </a:extLst>
            </p:cNvPr>
            <p:cNvSpPr>
              <a:spLocks noChangeArrowheads="1"/>
            </p:cNvSpPr>
            <p:nvPr/>
          </p:nvSpPr>
          <p:spPr bwMode="auto">
            <a:xfrm>
              <a:off x="883" y="1169"/>
              <a:ext cx="175"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1200">
                <a:latin typeface="+mn-lt"/>
              </a:endParaRPr>
            </a:p>
          </p:txBody>
        </p:sp>
        <p:sp>
          <p:nvSpPr>
            <p:cNvPr id="22" name="Rectangle 21">
              <a:extLst>
                <a:ext uri="{FF2B5EF4-FFF2-40B4-BE49-F238E27FC236}">
                  <a16:creationId xmlns:a16="http://schemas.microsoft.com/office/drawing/2014/main" id="{DDF2B328-E5CB-4435-B443-19797C326848}"/>
                </a:ext>
              </a:extLst>
            </p:cNvPr>
            <p:cNvSpPr>
              <a:spLocks noChangeArrowheads="1"/>
            </p:cNvSpPr>
            <p:nvPr/>
          </p:nvSpPr>
          <p:spPr bwMode="auto">
            <a:xfrm>
              <a:off x="923" y="1193"/>
              <a:ext cx="47"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a:solidFill>
                    <a:srgbClr val="000000"/>
                  </a:solidFill>
                  <a:latin typeface="+mn-lt"/>
                </a:rPr>
                <a:t>A</a:t>
              </a:r>
              <a:endParaRPr lang="en-US" altLang="en-US" sz="1200" b="0">
                <a:latin typeface="+mn-lt"/>
              </a:endParaRPr>
            </a:p>
          </p:txBody>
        </p:sp>
        <p:sp>
          <p:nvSpPr>
            <p:cNvPr id="23" name="Rectangle 22">
              <a:extLst>
                <a:ext uri="{FF2B5EF4-FFF2-40B4-BE49-F238E27FC236}">
                  <a16:creationId xmlns:a16="http://schemas.microsoft.com/office/drawing/2014/main" id="{E5725419-7A0C-4BB5-B454-4E61DB1538B4}"/>
                </a:ext>
              </a:extLst>
            </p:cNvPr>
            <p:cNvSpPr>
              <a:spLocks noChangeArrowheads="1"/>
            </p:cNvSpPr>
            <p:nvPr/>
          </p:nvSpPr>
          <p:spPr bwMode="auto">
            <a:xfrm>
              <a:off x="888" y="1461"/>
              <a:ext cx="166"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1200">
                <a:latin typeface="+mn-lt"/>
              </a:endParaRPr>
            </a:p>
          </p:txBody>
        </p:sp>
        <p:sp>
          <p:nvSpPr>
            <p:cNvPr id="24" name="Rectangle 23">
              <a:extLst>
                <a:ext uri="{FF2B5EF4-FFF2-40B4-BE49-F238E27FC236}">
                  <a16:creationId xmlns:a16="http://schemas.microsoft.com/office/drawing/2014/main" id="{42EEF4B9-2787-4B17-94CC-2378918941C7}"/>
                </a:ext>
              </a:extLst>
            </p:cNvPr>
            <p:cNvSpPr>
              <a:spLocks noChangeArrowheads="1"/>
            </p:cNvSpPr>
            <p:nvPr/>
          </p:nvSpPr>
          <p:spPr bwMode="auto">
            <a:xfrm>
              <a:off x="927" y="1485"/>
              <a:ext cx="45"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a:solidFill>
                    <a:srgbClr val="000000"/>
                  </a:solidFill>
                  <a:latin typeface="+mn-lt"/>
                </a:rPr>
                <a:t>B</a:t>
              </a:r>
              <a:endParaRPr lang="en-US" altLang="en-US" sz="1200" b="0">
                <a:latin typeface="+mn-lt"/>
              </a:endParaRPr>
            </a:p>
          </p:txBody>
        </p:sp>
        <p:sp>
          <p:nvSpPr>
            <p:cNvPr id="25" name="Rectangle 24">
              <a:extLst>
                <a:ext uri="{FF2B5EF4-FFF2-40B4-BE49-F238E27FC236}">
                  <a16:creationId xmlns:a16="http://schemas.microsoft.com/office/drawing/2014/main" id="{7342994A-ED54-4854-B104-027CF7B9CB48}"/>
                </a:ext>
              </a:extLst>
            </p:cNvPr>
            <p:cNvSpPr>
              <a:spLocks noChangeArrowheads="1"/>
            </p:cNvSpPr>
            <p:nvPr/>
          </p:nvSpPr>
          <p:spPr bwMode="auto">
            <a:xfrm>
              <a:off x="883" y="1793"/>
              <a:ext cx="175"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1200">
                <a:latin typeface="+mn-lt"/>
              </a:endParaRPr>
            </a:p>
          </p:txBody>
        </p:sp>
        <p:sp>
          <p:nvSpPr>
            <p:cNvPr id="26" name="Rectangle 25">
              <a:extLst>
                <a:ext uri="{FF2B5EF4-FFF2-40B4-BE49-F238E27FC236}">
                  <a16:creationId xmlns:a16="http://schemas.microsoft.com/office/drawing/2014/main" id="{9C9E3407-881B-4727-B93E-3568085FF329}"/>
                </a:ext>
              </a:extLst>
            </p:cNvPr>
            <p:cNvSpPr>
              <a:spLocks noChangeArrowheads="1"/>
            </p:cNvSpPr>
            <p:nvPr/>
          </p:nvSpPr>
          <p:spPr bwMode="auto">
            <a:xfrm>
              <a:off x="923" y="1816"/>
              <a:ext cx="43"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a:solidFill>
                    <a:srgbClr val="000000"/>
                  </a:solidFill>
                  <a:latin typeface="+mn-lt"/>
                </a:rPr>
                <a:t>C</a:t>
              </a:r>
              <a:endParaRPr lang="en-US" altLang="en-US" sz="1200" b="0">
                <a:latin typeface="+mn-lt"/>
              </a:endParaRPr>
            </a:p>
          </p:txBody>
        </p:sp>
        <p:grpSp>
          <p:nvGrpSpPr>
            <p:cNvPr id="27" name="Group 26">
              <a:extLst>
                <a:ext uri="{FF2B5EF4-FFF2-40B4-BE49-F238E27FC236}">
                  <a16:creationId xmlns:a16="http://schemas.microsoft.com/office/drawing/2014/main" id="{7EE55731-DBCF-43C7-AC49-539715FB31DA}"/>
                </a:ext>
              </a:extLst>
            </p:cNvPr>
            <p:cNvGrpSpPr>
              <a:grpSpLocks/>
            </p:cNvGrpSpPr>
            <p:nvPr/>
          </p:nvGrpSpPr>
          <p:grpSpPr bwMode="auto">
            <a:xfrm>
              <a:off x="1699" y="1385"/>
              <a:ext cx="331" cy="395"/>
              <a:chOff x="2293" y="1827"/>
              <a:chExt cx="299" cy="395"/>
            </a:xfrm>
          </p:grpSpPr>
          <p:sp>
            <p:nvSpPr>
              <p:cNvPr id="64" name="Freeform 15">
                <a:extLst>
                  <a:ext uri="{FF2B5EF4-FFF2-40B4-BE49-F238E27FC236}">
                    <a16:creationId xmlns:a16="http://schemas.microsoft.com/office/drawing/2014/main" id="{17B588A8-C9C2-4549-98AD-DB38D64AE6B3}"/>
                  </a:ext>
                </a:extLst>
              </p:cNvPr>
              <p:cNvSpPr>
                <a:spLocks/>
              </p:cNvSpPr>
              <p:nvPr/>
            </p:nvSpPr>
            <p:spPr bwMode="auto">
              <a:xfrm>
                <a:off x="2293" y="1827"/>
                <a:ext cx="299" cy="395"/>
              </a:xfrm>
              <a:custGeom>
                <a:avLst/>
                <a:gdLst>
                  <a:gd name="T0" fmla="*/ 330 w 599"/>
                  <a:gd name="T1" fmla="*/ 1 h 791"/>
                  <a:gd name="T2" fmla="*/ 388 w 599"/>
                  <a:gd name="T3" fmla="*/ 6 h 791"/>
                  <a:gd name="T4" fmla="*/ 442 w 599"/>
                  <a:gd name="T5" fmla="*/ 16 h 791"/>
                  <a:gd name="T6" fmla="*/ 490 w 599"/>
                  <a:gd name="T7" fmla="*/ 29 h 791"/>
                  <a:gd name="T8" fmla="*/ 530 w 599"/>
                  <a:gd name="T9" fmla="*/ 48 h 791"/>
                  <a:gd name="T10" fmla="*/ 563 w 599"/>
                  <a:gd name="T11" fmla="*/ 69 h 791"/>
                  <a:gd name="T12" fmla="*/ 585 w 599"/>
                  <a:gd name="T13" fmla="*/ 92 h 791"/>
                  <a:gd name="T14" fmla="*/ 598 w 599"/>
                  <a:gd name="T15" fmla="*/ 117 h 791"/>
                  <a:gd name="T16" fmla="*/ 599 w 599"/>
                  <a:gd name="T17" fmla="*/ 660 h 791"/>
                  <a:gd name="T18" fmla="*/ 593 w 599"/>
                  <a:gd name="T19" fmla="*/ 686 h 791"/>
                  <a:gd name="T20" fmla="*/ 576 w 599"/>
                  <a:gd name="T21" fmla="*/ 711 h 791"/>
                  <a:gd name="T22" fmla="*/ 547 w 599"/>
                  <a:gd name="T23" fmla="*/ 733 h 791"/>
                  <a:gd name="T24" fmla="*/ 511 w 599"/>
                  <a:gd name="T25" fmla="*/ 752 h 791"/>
                  <a:gd name="T26" fmla="*/ 467 w 599"/>
                  <a:gd name="T27" fmla="*/ 768 h 791"/>
                  <a:gd name="T28" fmla="*/ 416 w 599"/>
                  <a:gd name="T29" fmla="*/ 781 h 791"/>
                  <a:gd name="T30" fmla="*/ 359 w 599"/>
                  <a:gd name="T31" fmla="*/ 788 h 791"/>
                  <a:gd name="T32" fmla="*/ 299 w 599"/>
                  <a:gd name="T33" fmla="*/ 791 h 791"/>
                  <a:gd name="T34" fmla="*/ 238 w 599"/>
                  <a:gd name="T35" fmla="*/ 788 h 791"/>
                  <a:gd name="T36" fmla="*/ 183 w 599"/>
                  <a:gd name="T37" fmla="*/ 781 h 791"/>
                  <a:gd name="T38" fmla="*/ 132 w 599"/>
                  <a:gd name="T39" fmla="*/ 768 h 791"/>
                  <a:gd name="T40" fmla="*/ 88 w 599"/>
                  <a:gd name="T41" fmla="*/ 752 h 791"/>
                  <a:gd name="T42" fmla="*/ 52 w 599"/>
                  <a:gd name="T43" fmla="*/ 733 h 791"/>
                  <a:gd name="T44" fmla="*/ 24 w 599"/>
                  <a:gd name="T45" fmla="*/ 711 h 791"/>
                  <a:gd name="T46" fmla="*/ 6 w 599"/>
                  <a:gd name="T47" fmla="*/ 686 h 791"/>
                  <a:gd name="T48" fmla="*/ 0 w 599"/>
                  <a:gd name="T49" fmla="*/ 660 h 791"/>
                  <a:gd name="T50" fmla="*/ 1 w 599"/>
                  <a:gd name="T51" fmla="*/ 117 h 791"/>
                  <a:gd name="T52" fmla="*/ 14 w 599"/>
                  <a:gd name="T53" fmla="*/ 92 h 791"/>
                  <a:gd name="T54" fmla="*/ 36 w 599"/>
                  <a:gd name="T55" fmla="*/ 69 h 791"/>
                  <a:gd name="T56" fmla="*/ 69 w 599"/>
                  <a:gd name="T57" fmla="*/ 48 h 791"/>
                  <a:gd name="T58" fmla="*/ 109 w 599"/>
                  <a:gd name="T59" fmla="*/ 29 h 791"/>
                  <a:gd name="T60" fmla="*/ 157 w 599"/>
                  <a:gd name="T61" fmla="*/ 16 h 791"/>
                  <a:gd name="T62" fmla="*/ 210 w 599"/>
                  <a:gd name="T63" fmla="*/ 6 h 791"/>
                  <a:gd name="T64" fmla="*/ 268 w 599"/>
                  <a:gd name="T65" fmla="*/ 1 h 7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99"/>
                  <a:gd name="T100" fmla="*/ 0 h 791"/>
                  <a:gd name="T101" fmla="*/ 599 w 599"/>
                  <a:gd name="T102" fmla="*/ 791 h 7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99" h="791">
                    <a:moveTo>
                      <a:pt x="299" y="0"/>
                    </a:moveTo>
                    <a:lnTo>
                      <a:pt x="330" y="1"/>
                    </a:lnTo>
                    <a:lnTo>
                      <a:pt x="359" y="2"/>
                    </a:lnTo>
                    <a:lnTo>
                      <a:pt x="388" y="6"/>
                    </a:lnTo>
                    <a:lnTo>
                      <a:pt x="416" y="10"/>
                    </a:lnTo>
                    <a:lnTo>
                      <a:pt x="442" y="16"/>
                    </a:lnTo>
                    <a:lnTo>
                      <a:pt x="467" y="22"/>
                    </a:lnTo>
                    <a:lnTo>
                      <a:pt x="490" y="29"/>
                    </a:lnTo>
                    <a:lnTo>
                      <a:pt x="511" y="38"/>
                    </a:lnTo>
                    <a:lnTo>
                      <a:pt x="530" y="48"/>
                    </a:lnTo>
                    <a:lnTo>
                      <a:pt x="547" y="58"/>
                    </a:lnTo>
                    <a:lnTo>
                      <a:pt x="563" y="69"/>
                    </a:lnTo>
                    <a:lnTo>
                      <a:pt x="576" y="80"/>
                    </a:lnTo>
                    <a:lnTo>
                      <a:pt x="585" y="92"/>
                    </a:lnTo>
                    <a:lnTo>
                      <a:pt x="593" y="105"/>
                    </a:lnTo>
                    <a:lnTo>
                      <a:pt x="598" y="117"/>
                    </a:lnTo>
                    <a:lnTo>
                      <a:pt x="599" y="130"/>
                    </a:lnTo>
                    <a:lnTo>
                      <a:pt x="599" y="660"/>
                    </a:lnTo>
                    <a:lnTo>
                      <a:pt x="598" y="674"/>
                    </a:lnTo>
                    <a:lnTo>
                      <a:pt x="593" y="686"/>
                    </a:lnTo>
                    <a:lnTo>
                      <a:pt x="585" y="698"/>
                    </a:lnTo>
                    <a:lnTo>
                      <a:pt x="576" y="711"/>
                    </a:lnTo>
                    <a:lnTo>
                      <a:pt x="563" y="722"/>
                    </a:lnTo>
                    <a:lnTo>
                      <a:pt x="547" y="733"/>
                    </a:lnTo>
                    <a:lnTo>
                      <a:pt x="530" y="743"/>
                    </a:lnTo>
                    <a:lnTo>
                      <a:pt x="511" y="752"/>
                    </a:lnTo>
                    <a:lnTo>
                      <a:pt x="490" y="761"/>
                    </a:lnTo>
                    <a:lnTo>
                      <a:pt x="467" y="768"/>
                    </a:lnTo>
                    <a:lnTo>
                      <a:pt x="442" y="775"/>
                    </a:lnTo>
                    <a:lnTo>
                      <a:pt x="416" y="781"/>
                    </a:lnTo>
                    <a:lnTo>
                      <a:pt x="388" y="784"/>
                    </a:lnTo>
                    <a:lnTo>
                      <a:pt x="359" y="788"/>
                    </a:lnTo>
                    <a:lnTo>
                      <a:pt x="330" y="789"/>
                    </a:lnTo>
                    <a:lnTo>
                      <a:pt x="299" y="791"/>
                    </a:lnTo>
                    <a:lnTo>
                      <a:pt x="268" y="789"/>
                    </a:lnTo>
                    <a:lnTo>
                      <a:pt x="238" y="788"/>
                    </a:lnTo>
                    <a:lnTo>
                      <a:pt x="210" y="784"/>
                    </a:lnTo>
                    <a:lnTo>
                      <a:pt x="183" y="781"/>
                    </a:lnTo>
                    <a:lnTo>
                      <a:pt x="157" y="775"/>
                    </a:lnTo>
                    <a:lnTo>
                      <a:pt x="132" y="768"/>
                    </a:lnTo>
                    <a:lnTo>
                      <a:pt x="109" y="761"/>
                    </a:lnTo>
                    <a:lnTo>
                      <a:pt x="88" y="752"/>
                    </a:lnTo>
                    <a:lnTo>
                      <a:pt x="69" y="743"/>
                    </a:lnTo>
                    <a:lnTo>
                      <a:pt x="52" y="733"/>
                    </a:lnTo>
                    <a:lnTo>
                      <a:pt x="36" y="722"/>
                    </a:lnTo>
                    <a:lnTo>
                      <a:pt x="24" y="711"/>
                    </a:lnTo>
                    <a:lnTo>
                      <a:pt x="14" y="698"/>
                    </a:lnTo>
                    <a:lnTo>
                      <a:pt x="6" y="686"/>
                    </a:lnTo>
                    <a:lnTo>
                      <a:pt x="1" y="674"/>
                    </a:lnTo>
                    <a:lnTo>
                      <a:pt x="0" y="660"/>
                    </a:lnTo>
                    <a:lnTo>
                      <a:pt x="0" y="130"/>
                    </a:lnTo>
                    <a:lnTo>
                      <a:pt x="1" y="117"/>
                    </a:lnTo>
                    <a:lnTo>
                      <a:pt x="6" y="105"/>
                    </a:lnTo>
                    <a:lnTo>
                      <a:pt x="14" y="92"/>
                    </a:lnTo>
                    <a:lnTo>
                      <a:pt x="24" y="80"/>
                    </a:lnTo>
                    <a:lnTo>
                      <a:pt x="36" y="69"/>
                    </a:lnTo>
                    <a:lnTo>
                      <a:pt x="52" y="58"/>
                    </a:lnTo>
                    <a:lnTo>
                      <a:pt x="69" y="48"/>
                    </a:lnTo>
                    <a:lnTo>
                      <a:pt x="88" y="38"/>
                    </a:lnTo>
                    <a:lnTo>
                      <a:pt x="109" y="29"/>
                    </a:lnTo>
                    <a:lnTo>
                      <a:pt x="132" y="22"/>
                    </a:lnTo>
                    <a:lnTo>
                      <a:pt x="157" y="16"/>
                    </a:lnTo>
                    <a:lnTo>
                      <a:pt x="183" y="10"/>
                    </a:lnTo>
                    <a:lnTo>
                      <a:pt x="210" y="6"/>
                    </a:lnTo>
                    <a:lnTo>
                      <a:pt x="238" y="2"/>
                    </a:lnTo>
                    <a:lnTo>
                      <a:pt x="268" y="1"/>
                    </a:lnTo>
                    <a:lnTo>
                      <a:pt x="299" y="0"/>
                    </a:lnTo>
                    <a:close/>
                  </a:path>
                </a:pathLst>
              </a:custGeom>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defRPr/>
                </a:pPr>
                <a:endParaRPr lang="en-US" sz="1200">
                  <a:solidFill>
                    <a:srgbClr val="92D050"/>
                  </a:solidFill>
                </a:endParaRPr>
              </a:p>
            </p:txBody>
          </p:sp>
          <p:sp>
            <p:nvSpPr>
              <p:cNvPr id="65" name="Freeform 16">
                <a:extLst>
                  <a:ext uri="{FF2B5EF4-FFF2-40B4-BE49-F238E27FC236}">
                    <a16:creationId xmlns:a16="http://schemas.microsoft.com/office/drawing/2014/main" id="{685832AB-ACDE-4FDB-BB22-C04F89DF9029}"/>
                  </a:ext>
                </a:extLst>
              </p:cNvPr>
              <p:cNvSpPr>
                <a:spLocks/>
              </p:cNvSpPr>
              <p:nvPr/>
            </p:nvSpPr>
            <p:spPr bwMode="auto">
              <a:xfrm>
                <a:off x="2293" y="1892"/>
                <a:ext cx="299" cy="66"/>
              </a:xfrm>
              <a:custGeom>
                <a:avLst/>
                <a:gdLst>
                  <a:gd name="T0" fmla="*/ 599 w 599"/>
                  <a:gd name="T1" fmla="*/ 0 h 132"/>
                  <a:gd name="T2" fmla="*/ 598 w 599"/>
                  <a:gd name="T3" fmla="*/ 14 h 132"/>
                  <a:gd name="T4" fmla="*/ 593 w 599"/>
                  <a:gd name="T5" fmla="*/ 28 h 132"/>
                  <a:gd name="T6" fmla="*/ 585 w 599"/>
                  <a:gd name="T7" fmla="*/ 40 h 132"/>
                  <a:gd name="T8" fmla="*/ 576 w 599"/>
                  <a:gd name="T9" fmla="*/ 52 h 132"/>
                  <a:gd name="T10" fmla="*/ 563 w 599"/>
                  <a:gd name="T11" fmla="*/ 63 h 132"/>
                  <a:gd name="T12" fmla="*/ 547 w 599"/>
                  <a:gd name="T13" fmla="*/ 74 h 132"/>
                  <a:gd name="T14" fmla="*/ 530 w 599"/>
                  <a:gd name="T15" fmla="*/ 84 h 132"/>
                  <a:gd name="T16" fmla="*/ 511 w 599"/>
                  <a:gd name="T17" fmla="*/ 94 h 132"/>
                  <a:gd name="T18" fmla="*/ 490 w 599"/>
                  <a:gd name="T19" fmla="*/ 103 h 132"/>
                  <a:gd name="T20" fmla="*/ 467 w 599"/>
                  <a:gd name="T21" fmla="*/ 110 h 132"/>
                  <a:gd name="T22" fmla="*/ 442 w 599"/>
                  <a:gd name="T23" fmla="*/ 116 h 132"/>
                  <a:gd name="T24" fmla="*/ 416 w 599"/>
                  <a:gd name="T25" fmla="*/ 122 h 132"/>
                  <a:gd name="T26" fmla="*/ 388 w 599"/>
                  <a:gd name="T27" fmla="*/ 126 h 132"/>
                  <a:gd name="T28" fmla="*/ 359 w 599"/>
                  <a:gd name="T29" fmla="*/ 130 h 132"/>
                  <a:gd name="T30" fmla="*/ 330 w 599"/>
                  <a:gd name="T31" fmla="*/ 131 h 132"/>
                  <a:gd name="T32" fmla="*/ 299 w 599"/>
                  <a:gd name="T33" fmla="*/ 132 h 132"/>
                  <a:gd name="T34" fmla="*/ 268 w 599"/>
                  <a:gd name="T35" fmla="*/ 131 h 132"/>
                  <a:gd name="T36" fmla="*/ 238 w 599"/>
                  <a:gd name="T37" fmla="*/ 130 h 132"/>
                  <a:gd name="T38" fmla="*/ 210 w 599"/>
                  <a:gd name="T39" fmla="*/ 126 h 132"/>
                  <a:gd name="T40" fmla="*/ 183 w 599"/>
                  <a:gd name="T41" fmla="*/ 122 h 132"/>
                  <a:gd name="T42" fmla="*/ 157 w 599"/>
                  <a:gd name="T43" fmla="*/ 116 h 132"/>
                  <a:gd name="T44" fmla="*/ 132 w 599"/>
                  <a:gd name="T45" fmla="*/ 110 h 132"/>
                  <a:gd name="T46" fmla="*/ 109 w 599"/>
                  <a:gd name="T47" fmla="*/ 103 h 132"/>
                  <a:gd name="T48" fmla="*/ 88 w 599"/>
                  <a:gd name="T49" fmla="*/ 94 h 132"/>
                  <a:gd name="T50" fmla="*/ 69 w 599"/>
                  <a:gd name="T51" fmla="*/ 84 h 132"/>
                  <a:gd name="T52" fmla="*/ 52 w 599"/>
                  <a:gd name="T53" fmla="*/ 74 h 132"/>
                  <a:gd name="T54" fmla="*/ 36 w 599"/>
                  <a:gd name="T55" fmla="*/ 63 h 132"/>
                  <a:gd name="T56" fmla="*/ 24 w 599"/>
                  <a:gd name="T57" fmla="*/ 52 h 132"/>
                  <a:gd name="T58" fmla="*/ 14 w 599"/>
                  <a:gd name="T59" fmla="*/ 40 h 132"/>
                  <a:gd name="T60" fmla="*/ 6 w 599"/>
                  <a:gd name="T61" fmla="*/ 28 h 132"/>
                  <a:gd name="T62" fmla="*/ 1 w 599"/>
                  <a:gd name="T63" fmla="*/ 14 h 132"/>
                  <a:gd name="T64" fmla="*/ 0 w 599"/>
                  <a:gd name="T65" fmla="*/ 0 h 1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99"/>
                  <a:gd name="T100" fmla="*/ 0 h 132"/>
                  <a:gd name="T101" fmla="*/ 599 w 599"/>
                  <a:gd name="T102" fmla="*/ 132 h 13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99" h="132">
                    <a:moveTo>
                      <a:pt x="599" y="0"/>
                    </a:moveTo>
                    <a:lnTo>
                      <a:pt x="598" y="14"/>
                    </a:lnTo>
                    <a:lnTo>
                      <a:pt x="593" y="28"/>
                    </a:lnTo>
                    <a:lnTo>
                      <a:pt x="585" y="40"/>
                    </a:lnTo>
                    <a:lnTo>
                      <a:pt x="576" y="52"/>
                    </a:lnTo>
                    <a:lnTo>
                      <a:pt x="563" y="63"/>
                    </a:lnTo>
                    <a:lnTo>
                      <a:pt x="547" y="74"/>
                    </a:lnTo>
                    <a:lnTo>
                      <a:pt x="530" y="84"/>
                    </a:lnTo>
                    <a:lnTo>
                      <a:pt x="511" y="94"/>
                    </a:lnTo>
                    <a:lnTo>
                      <a:pt x="490" y="103"/>
                    </a:lnTo>
                    <a:lnTo>
                      <a:pt x="467" y="110"/>
                    </a:lnTo>
                    <a:lnTo>
                      <a:pt x="442" y="116"/>
                    </a:lnTo>
                    <a:lnTo>
                      <a:pt x="416" y="122"/>
                    </a:lnTo>
                    <a:lnTo>
                      <a:pt x="388" y="126"/>
                    </a:lnTo>
                    <a:lnTo>
                      <a:pt x="359" y="130"/>
                    </a:lnTo>
                    <a:lnTo>
                      <a:pt x="330" y="131"/>
                    </a:lnTo>
                    <a:lnTo>
                      <a:pt x="299" y="132"/>
                    </a:lnTo>
                    <a:lnTo>
                      <a:pt x="268" y="131"/>
                    </a:lnTo>
                    <a:lnTo>
                      <a:pt x="238" y="130"/>
                    </a:lnTo>
                    <a:lnTo>
                      <a:pt x="210" y="126"/>
                    </a:lnTo>
                    <a:lnTo>
                      <a:pt x="183" y="122"/>
                    </a:lnTo>
                    <a:lnTo>
                      <a:pt x="157" y="116"/>
                    </a:lnTo>
                    <a:lnTo>
                      <a:pt x="132" y="110"/>
                    </a:lnTo>
                    <a:lnTo>
                      <a:pt x="109" y="103"/>
                    </a:lnTo>
                    <a:lnTo>
                      <a:pt x="88" y="94"/>
                    </a:lnTo>
                    <a:lnTo>
                      <a:pt x="69" y="84"/>
                    </a:lnTo>
                    <a:lnTo>
                      <a:pt x="52" y="74"/>
                    </a:lnTo>
                    <a:lnTo>
                      <a:pt x="36" y="63"/>
                    </a:lnTo>
                    <a:lnTo>
                      <a:pt x="24" y="52"/>
                    </a:lnTo>
                    <a:lnTo>
                      <a:pt x="14" y="40"/>
                    </a:lnTo>
                    <a:lnTo>
                      <a:pt x="6" y="28"/>
                    </a:lnTo>
                    <a:lnTo>
                      <a:pt x="1" y="14"/>
                    </a:lnTo>
                    <a:lnTo>
                      <a:pt x="0" y="0"/>
                    </a:lnTo>
                  </a:path>
                </a:pathLst>
              </a:custGeom>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defRPr/>
                </a:pPr>
                <a:endParaRPr lang="en-US" sz="1200">
                  <a:solidFill>
                    <a:srgbClr val="92D050"/>
                  </a:solidFill>
                </a:endParaRPr>
              </a:p>
            </p:txBody>
          </p:sp>
        </p:grpSp>
        <p:sp>
          <p:nvSpPr>
            <p:cNvPr id="28" name="Line 18">
              <a:extLst>
                <a:ext uri="{FF2B5EF4-FFF2-40B4-BE49-F238E27FC236}">
                  <a16:creationId xmlns:a16="http://schemas.microsoft.com/office/drawing/2014/main" id="{CB3C5D61-EB62-4B31-A7E3-04B3E35446C9}"/>
                </a:ext>
              </a:extLst>
            </p:cNvPr>
            <p:cNvSpPr>
              <a:spLocks noChangeShapeType="1"/>
            </p:cNvSpPr>
            <p:nvPr/>
          </p:nvSpPr>
          <p:spPr bwMode="auto">
            <a:xfrm>
              <a:off x="1102" y="1553"/>
              <a:ext cx="515" cy="13"/>
            </a:xfrm>
            <a:prstGeom prst="line">
              <a:avLst/>
            </a:prstGeom>
            <a:noFill/>
            <a:ln w="635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sz="1200"/>
            </a:p>
          </p:txBody>
        </p:sp>
        <p:sp>
          <p:nvSpPr>
            <p:cNvPr id="29" name="Line 21">
              <a:extLst>
                <a:ext uri="{FF2B5EF4-FFF2-40B4-BE49-F238E27FC236}">
                  <a16:creationId xmlns:a16="http://schemas.microsoft.com/office/drawing/2014/main" id="{2D759BC4-98A6-4EC9-9A5B-B1E4DEA87A45}"/>
                </a:ext>
              </a:extLst>
            </p:cNvPr>
            <p:cNvSpPr>
              <a:spLocks noChangeShapeType="1"/>
            </p:cNvSpPr>
            <p:nvPr/>
          </p:nvSpPr>
          <p:spPr bwMode="auto">
            <a:xfrm flipV="1">
              <a:off x="1091" y="1665"/>
              <a:ext cx="526" cy="205"/>
            </a:xfrm>
            <a:prstGeom prst="line">
              <a:avLst/>
            </a:prstGeom>
            <a:noFill/>
            <a:ln w="635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sz="1200"/>
            </a:p>
          </p:txBody>
        </p:sp>
        <p:sp>
          <p:nvSpPr>
            <p:cNvPr id="30" name="Line 24">
              <a:extLst>
                <a:ext uri="{FF2B5EF4-FFF2-40B4-BE49-F238E27FC236}">
                  <a16:creationId xmlns:a16="http://schemas.microsoft.com/office/drawing/2014/main" id="{C14556D8-2CDC-4AE3-AF5B-E5A40E63FFF5}"/>
                </a:ext>
              </a:extLst>
            </p:cNvPr>
            <p:cNvSpPr>
              <a:spLocks noChangeShapeType="1"/>
            </p:cNvSpPr>
            <p:nvPr/>
          </p:nvSpPr>
          <p:spPr bwMode="auto">
            <a:xfrm>
              <a:off x="1046" y="1238"/>
              <a:ext cx="603" cy="240"/>
            </a:xfrm>
            <a:prstGeom prst="line">
              <a:avLst/>
            </a:prstGeom>
            <a:noFill/>
            <a:ln w="635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sz="1200"/>
            </a:p>
          </p:txBody>
        </p:sp>
        <p:sp>
          <p:nvSpPr>
            <p:cNvPr id="31" name="Line 27">
              <a:extLst>
                <a:ext uri="{FF2B5EF4-FFF2-40B4-BE49-F238E27FC236}">
                  <a16:creationId xmlns:a16="http://schemas.microsoft.com/office/drawing/2014/main" id="{69776A19-48E8-4B6C-8120-F9036A156FE4}"/>
                </a:ext>
              </a:extLst>
            </p:cNvPr>
            <p:cNvSpPr>
              <a:spLocks noChangeShapeType="1"/>
            </p:cNvSpPr>
            <p:nvPr/>
          </p:nvSpPr>
          <p:spPr bwMode="auto">
            <a:xfrm flipV="1">
              <a:off x="2036" y="1584"/>
              <a:ext cx="642" cy="5"/>
            </a:xfrm>
            <a:prstGeom prst="line">
              <a:avLst/>
            </a:prstGeom>
            <a:noFill/>
            <a:ln w="635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sz="1200"/>
            </a:p>
          </p:txBody>
        </p:sp>
        <p:sp>
          <p:nvSpPr>
            <p:cNvPr id="32" name="Rectangle 29">
              <a:extLst>
                <a:ext uri="{FF2B5EF4-FFF2-40B4-BE49-F238E27FC236}">
                  <a16:creationId xmlns:a16="http://schemas.microsoft.com/office/drawing/2014/main" id="{084FFC4E-FD13-42FB-BB3A-BFE22E0ADA24}"/>
                </a:ext>
              </a:extLst>
            </p:cNvPr>
            <p:cNvSpPr>
              <a:spLocks noChangeArrowheads="1"/>
            </p:cNvSpPr>
            <p:nvPr/>
          </p:nvSpPr>
          <p:spPr bwMode="auto">
            <a:xfrm>
              <a:off x="3584" y="1257"/>
              <a:ext cx="276"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1200">
                <a:latin typeface="+mn-lt"/>
              </a:endParaRPr>
            </a:p>
          </p:txBody>
        </p:sp>
        <p:sp>
          <p:nvSpPr>
            <p:cNvPr id="33" name="Rectangle 30">
              <a:extLst>
                <a:ext uri="{FF2B5EF4-FFF2-40B4-BE49-F238E27FC236}">
                  <a16:creationId xmlns:a16="http://schemas.microsoft.com/office/drawing/2014/main" id="{28FE8531-3C95-4DA7-9D06-A34C70EC7E86}"/>
                </a:ext>
              </a:extLst>
            </p:cNvPr>
            <p:cNvSpPr>
              <a:spLocks noChangeArrowheads="1"/>
            </p:cNvSpPr>
            <p:nvPr/>
          </p:nvSpPr>
          <p:spPr bwMode="auto">
            <a:xfrm>
              <a:off x="3600" y="1248"/>
              <a:ext cx="193"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EIS</a:t>
              </a:r>
              <a:endParaRPr lang="en-US" altLang="en-US" sz="1200" b="0">
                <a:latin typeface="+mn-lt"/>
              </a:endParaRPr>
            </a:p>
          </p:txBody>
        </p:sp>
        <p:sp>
          <p:nvSpPr>
            <p:cNvPr id="34" name="Rectangle 31">
              <a:extLst>
                <a:ext uri="{FF2B5EF4-FFF2-40B4-BE49-F238E27FC236}">
                  <a16:creationId xmlns:a16="http://schemas.microsoft.com/office/drawing/2014/main" id="{1370B394-55DF-4A03-9CF8-EC63274081AC}"/>
                </a:ext>
              </a:extLst>
            </p:cNvPr>
            <p:cNvSpPr>
              <a:spLocks noChangeArrowheads="1"/>
            </p:cNvSpPr>
            <p:nvPr/>
          </p:nvSpPr>
          <p:spPr bwMode="auto">
            <a:xfrm>
              <a:off x="3560" y="1385"/>
              <a:ext cx="321"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1200">
                <a:latin typeface="+mn-lt"/>
              </a:endParaRPr>
            </a:p>
          </p:txBody>
        </p:sp>
        <p:sp>
          <p:nvSpPr>
            <p:cNvPr id="35" name="Rectangle 32">
              <a:extLst>
                <a:ext uri="{FF2B5EF4-FFF2-40B4-BE49-F238E27FC236}">
                  <a16:creationId xmlns:a16="http://schemas.microsoft.com/office/drawing/2014/main" id="{CBE3E3F3-6174-45F4-AE78-3E9CF1D5EB39}"/>
                </a:ext>
              </a:extLst>
            </p:cNvPr>
            <p:cNvSpPr>
              <a:spLocks noChangeArrowheads="1"/>
            </p:cNvSpPr>
            <p:nvPr/>
          </p:nvSpPr>
          <p:spPr bwMode="auto">
            <a:xfrm>
              <a:off x="3600" y="1392"/>
              <a:ext cx="247"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DSS</a:t>
              </a:r>
              <a:endParaRPr lang="en-US" altLang="en-US" sz="1200" b="0">
                <a:latin typeface="+mn-lt"/>
              </a:endParaRPr>
            </a:p>
          </p:txBody>
        </p:sp>
        <p:sp>
          <p:nvSpPr>
            <p:cNvPr id="36" name="Rectangle 33">
              <a:extLst>
                <a:ext uri="{FF2B5EF4-FFF2-40B4-BE49-F238E27FC236}">
                  <a16:creationId xmlns:a16="http://schemas.microsoft.com/office/drawing/2014/main" id="{6FCFA02D-EDDD-40D1-81A7-1CF72FC8F05A}"/>
                </a:ext>
              </a:extLst>
            </p:cNvPr>
            <p:cNvSpPr>
              <a:spLocks noChangeArrowheads="1"/>
            </p:cNvSpPr>
            <p:nvPr/>
          </p:nvSpPr>
          <p:spPr bwMode="auto">
            <a:xfrm>
              <a:off x="3541" y="1512"/>
              <a:ext cx="357"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1200">
                <a:latin typeface="+mn-lt"/>
              </a:endParaRPr>
            </a:p>
          </p:txBody>
        </p:sp>
        <p:sp>
          <p:nvSpPr>
            <p:cNvPr id="37" name="Rectangle 34">
              <a:extLst>
                <a:ext uri="{FF2B5EF4-FFF2-40B4-BE49-F238E27FC236}">
                  <a16:creationId xmlns:a16="http://schemas.microsoft.com/office/drawing/2014/main" id="{3445307D-42B2-422E-B0F3-74CB445A65F6}"/>
                </a:ext>
              </a:extLst>
            </p:cNvPr>
            <p:cNvSpPr>
              <a:spLocks noChangeArrowheads="1"/>
            </p:cNvSpPr>
            <p:nvPr/>
          </p:nvSpPr>
          <p:spPr bwMode="auto">
            <a:xfrm>
              <a:off x="3600" y="1536"/>
              <a:ext cx="288"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Apps</a:t>
              </a:r>
              <a:endParaRPr lang="en-US" altLang="en-US" sz="1200" b="0">
                <a:latin typeface="+mn-lt"/>
              </a:endParaRPr>
            </a:p>
          </p:txBody>
        </p:sp>
        <p:sp>
          <p:nvSpPr>
            <p:cNvPr id="38" name="Rectangle 35">
              <a:extLst>
                <a:ext uri="{FF2B5EF4-FFF2-40B4-BE49-F238E27FC236}">
                  <a16:creationId xmlns:a16="http://schemas.microsoft.com/office/drawing/2014/main" id="{E1441CCE-E426-4D2E-A957-8D3849C8140D}"/>
                </a:ext>
              </a:extLst>
            </p:cNvPr>
            <p:cNvSpPr>
              <a:spLocks noChangeArrowheads="1"/>
            </p:cNvSpPr>
            <p:nvPr/>
          </p:nvSpPr>
          <p:spPr bwMode="auto">
            <a:xfrm>
              <a:off x="3603" y="1665"/>
              <a:ext cx="240"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1200">
                <a:latin typeface="+mn-lt"/>
              </a:endParaRPr>
            </a:p>
          </p:txBody>
        </p:sp>
        <p:sp>
          <p:nvSpPr>
            <p:cNvPr id="39" name="Rectangle 36">
              <a:extLst>
                <a:ext uri="{FF2B5EF4-FFF2-40B4-BE49-F238E27FC236}">
                  <a16:creationId xmlns:a16="http://schemas.microsoft.com/office/drawing/2014/main" id="{E7A8B141-FD06-4CD9-B5C1-E884CC10EEA4}"/>
                </a:ext>
              </a:extLst>
            </p:cNvPr>
            <p:cNvSpPr>
              <a:spLocks noChangeArrowheads="1"/>
            </p:cNvSpPr>
            <p:nvPr/>
          </p:nvSpPr>
          <p:spPr bwMode="auto">
            <a:xfrm>
              <a:off x="3600" y="1680"/>
              <a:ext cx="78"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PC</a:t>
              </a:r>
              <a:endParaRPr lang="en-US" altLang="en-US" sz="1200" b="0">
                <a:latin typeface="+mn-lt"/>
              </a:endParaRPr>
            </a:p>
          </p:txBody>
        </p:sp>
        <p:sp>
          <p:nvSpPr>
            <p:cNvPr id="40" name="Rectangle 38">
              <a:extLst>
                <a:ext uri="{FF2B5EF4-FFF2-40B4-BE49-F238E27FC236}">
                  <a16:creationId xmlns:a16="http://schemas.microsoft.com/office/drawing/2014/main" id="{10557863-9DD0-4276-A615-065DB56F832F}"/>
                </a:ext>
              </a:extLst>
            </p:cNvPr>
            <p:cNvSpPr>
              <a:spLocks noChangeArrowheads="1"/>
            </p:cNvSpPr>
            <p:nvPr/>
          </p:nvSpPr>
          <p:spPr bwMode="auto">
            <a:xfrm>
              <a:off x="1516" y="1223"/>
              <a:ext cx="773"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u="sng">
                  <a:solidFill>
                    <a:srgbClr val="000000"/>
                  </a:solidFill>
                  <a:latin typeface="+mn-lt"/>
                </a:rPr>
                <a:t>Operational Data Store</a:t>
              </a:r>
              <a:endParaRPr lang="en-US" altLang="en-US" sz="1200" b="0">
                <a:latin typeface="+mn-lt"/>
              </a:endParaRPr>
            </a:p>
          </p:txBody>
        </p:sp>
        <p:sp>
          <p:nvSpPr>
            <p:cNvPr id="41" name="Rectangle 40">
              <a:extLst>
                <a:ext uri="{FF2B5EF4-FFF2-40B4-BE49-F238E27FC236}">
                  <a16:creationId xmlns:a16="http://schemas.microsoft.com/office/drawing/2014/main" id="{7523A204-3991-4568-B7F0-234CA5EB12F1}"/>
                </a:ext>
              </a:extLst>
            </p:cNvPr>
            <p:cNvSpPr>
              <a:spLocks noChangeArrowheads="1"/>
            </p:cNvSpPr>
            <p:nvPr/>
          </p:nvSpPr>
          <p:spPr bwMode="auto">
            <a:xfrm>
              <a:off x="1415" y="1861"/>
              <a:ext cx="839" cy="573"/>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1200">
                <a:solidFill>
                  <a:srgbClr val="92D050"/>
                </a:solidFill>
                <a:latin typeface="+mn-lt"/>
              </a:endParaRPr>
            </a:p>
          </p:txBody>
        </p:sp>
        <p:sp>
          <p:nvSpPr>
            <p:cNvPr id="42" name="Rectangle 41">
              <a:extLst>
                <a:ext uri="{FF2B5EF4-FFF2-40B4-BE49-F238E27FC236}">
                  <a16:creationId xmlns:a16="http://schemas.microsoft.com/office/drawing/2014/main" id="{1252058B-EE20-4A86-B9AD-5031268BCF40}"/>
                </a:ext>
              </a:extLst>
            </p:cNvPr>
            <p:cNvSpPr>
              <a:spLocks noChangeArrowheads="1"/>
            </p:cNvSpPr>
            <p:nvPr/>
          </p:nvSpPr>
          <p:spPr bwMode="auto">
            <a:xfrm>
              <a:off x="1449" y="1819"/>
              <a:ext cx="0"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US" altLang="en-US" sz="1200" b="0">
                <a:latin typeface="+mn-lt"/>
              </a:endParaRPr>
            </a:p>
          </p:txBody>
        </p:sp>
        <p:sp>
          <p:nvSpPr>
            <p:cNvPr id="43" name="Rectangle 42">
              <a:extLst>
                <a:ext uri="{FF2B5EF4-FFF2-40B4-BE49-F238E27FC236}">
                  <a16:creationId xmlns:a16="http://schemas.microsoft.com/office/drawing/2014/main" id="{D945CA5B-62C3-4539-BE39-24B4E1D66AE5}"/>
                </a:ext>
              </a:extLst>
            </p:cNvPr>
            <p:cNvSpPr>
              <a:spLocks noChangeArrowheads="1"/>
            </p:cNvSpPr>
            <p:nvPr/>
          </p:nvSpPr>
          <p:spPr bwMode="auto">
            <a:xfrm>
              <a:off x="1481" y="1887"/>
              <a:ext cx="488"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 Current or near</a:t>
              </a:r>
              <a:endParaRPr lang="en-US" altLang="en-US" sz="1200" b="0">
                <a:latin typeface="+mn-lt"/>
              </a:endParaRPr>
            </a:p>
          </p:txBody>
        </p:sp>
        <p:sp>
          <p:nvSpPr>
            <p:cNvPr id="44" name="Rectangle 43">
              <a:extLst>
                <a:ext uri="{FF2B5EF4-FFF2-40B4-BE49-F238E27FC236}">
                  <a16:creationId xmlns:a16="http://schemas.microsoft.com/office/drawing/2014/main" id="{BB3CB5B1-F449-4443-933B-1389166762A5}"/>
                </a:ext>
              </a:extLst>
            </p:cNvPr>
            <p:cNvSpPr>
              <a:spLocks noChangeArrowheads="1"/>
            </p:cNvSpPr>
            <p:nvPr/>
          </p:nvSpPr>
          <p:spPr bwMode="auto">
            <a:xfrm>
              <a:off x="1514" y="1993"/>
              <a:ext cx="372"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current data</a:t>
              </a:r>
              <a:endParaRPr lang="en-US" altLang="en-US" sz="1200" b="0">
                <a:latin typeface="+mn-lt"/>
              </a:endParaRPr>
            </a:p>
          </p:txBody>
        </p:sp>
        <p:sp>
          <p:nvSpPr>
            <p:cNvPr id="45" name="Rectangle 44">
              <a:extLst>
                <a:ext uri="{FF2B5EF4-FFF2-40B4-BE49-F238E27FC236}">
                  <a16:creationId xmlns:a16="http://schemas.microsoft.com/office/drawing/2014/main" id="{8779280C-A27F-41CF-8DB4-5B68CEECE5FC}"/>
                </a:ext>
              </a:extLst>
            </p:cNvPr>
            <p:cNvSpPr>
              <a:spLocks noChangeArrowheads="1"/>
            </p:cNvSpPr>
            <p:nvPr/>
          </p:nvSpPr>
          <p:spPr bwMode="auto">
            <a:xfrm>
              <a:off x="1449" y="2086"/>
              <a:ext cx="0"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US" altLang="en-US" sz="1200" b="0">
                <a:latin typeface="+mn-lt"/>
              </a:endParaRPr>
            </a:p>
          </p:txBody>
        </p:sp>
        <p:sp>
          <p:nvSpPr>
            <p:cNvPr id="46" name="Rectangle 45">
              <a:extLst>
                <a:ext uri="{FF2B5EF4-FFF2-40B4-BE49-F238E27FC236}">
                  <a16:creationId xmlns:a16="http://schemas.microsoft.com/office/drawing/2014/main" id="{7C0A5B3B-DF9C-40ED-9FC6-665589CC676C}"/>
                </a:ext>
              </a:extLst>
            </p:cNvPr>
            <p:cNvSpPr>
              <a:spLocks noChangeArrowheads="1"/>
            </p:cNvSpPr>
            <p:nvPr/>
          </p:nvSpPr>
          <p:spPr bwMode="auto">
            <a:xfrm>
              <a:off x="1481" y="2154"/>
              <a:ext cx="422"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 Detailed data</a:t>
              </a:r>
              <a:endParaRPr lang="en-US" altLang="en-US" sz="1200" b="0">
                <a:latin typeface="+mn-lt"/>
              </a:endParaRPr>
            </a:p>
          </p:txBody>
        </p:sp>
        <p:sp>
          <p:nvSpPr>
            <p:cNvPr id="47" name="Rectangle 46">
              <a:extLst>
                <a:ext uri="{FF2B5EF4-FFF2-40B4-BE49-F238E27FC236}">
                  <a16:creationId xmlns:a16="http://schemas.microsoft.com/office/drawing/2014/main" id="{085324EF-4F46-4F90-A2C7-6F3C7F019269}"/>
                </a:ext>
              </a:extLst>
            </p:cNvPr>
            <p:cNvSpPr>
              <a:spLocks noChangeArrowheads="1"/>
            </p:cNvSpPr>
            <p:nvPr/>
          </p:nvSpPr>
          <p:spPr bwMode="auto">
            <a:xfrm>
              <a:off x="1449" y="2246"/>
              <a:ext cx="0"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US" altLang="en-US" sz="1200" b="0">
                <a:latin typeface="+mn-lt"/>
              </a:endParaRPr>
            </a:p>
          </p:txBody>
        </p:sp>
        <p:sp>
          <p:nvSpPr>
            <p:cNvPr id="48" name="Rectangle 47">
              <a:extLst>
                <a:ext uri="{FF2B5EF4-FFF2-40B4-BE49-F238E27FC236}">
                  <a16:creationId xmlns:a16="http://schemas.microsoft.com/office/drawing/2014/main" id="{DFC24BF7-CE59-4E2A-9B8F-ECD6A069D60E}"/>
                </a:ext>
              </a:extLst>
            </p:cNvPr>
            <p:cNvSpPr>
              <a:spLocks noChangeArrowheads="1"/>
            </p:cNvSpPr>
            <p:nvPr/>
          </p:nvSpPr>
          <p:spPr bwMode="auto">
            <a:xfrm>
              <a:off x="1481" y="2314"/>
              <a:ext cx="514"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 Updates allowed</a:t>
              </a:r>
              <a:endParaRPr lang="en-US" altLang="en-US" sz="1200" b="0">
                <a:latin typeface="+mn-lt"/>
              </a:endParaRPr>
            </a:p>
          </p:txBody>
        </p:sp>
        <p:sp>
          <p:nvSpPr>
            <p:cNvPr id="49" name="Rectangle 48">
              <a:extLst>
                <a:ext uri="{FF2B5EF4-FFF2-40B4-BE49-F238E27FC236}">
                  <a16:creationId xmlns:a16="http://schemas.microsoft.com/office/drawing/2014/main" id="{6BA139E2-B690-4EFD-891B-180919FB45B3}"/>
                </a:ext>
              </a:extLst>
            </p:cNvPr>
            <p:cNvSpPr>
              <a:spLocks noChangeArrowheads="1"/>
            </p:cNvSpPr>
            <p:nvPr/>
          </p:nvSpPr>
          <p:spPr bwMode="auto">
            <a:xfrm>
              <a:off x="2519" y="1847"/>
              <a:ext cx="1007" cy="641"/>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1200">
                <a:solidFill>
                  <a:srgbClr val="92D050"/>
                </a:solidFill>
                <a:latin typeface="+mn-lt"/>
              </a:endParaRPr>
            </a:p>
          </p:txBody>
        </p:sp>
        <p:sp>
          <p:nvSpPr>
            <p:cNvPr id="50" name="Rectangle 49">
              <a:extLst>
                <a:ext uri="{FF2B5EF4-FFF2-40B4-BE49-F238E27FC236}">
                  <a16:creationId xmlns:a16="http://schemas.microsoft.com/office/drawing/2014/main" id="{8CFE321E-1495-4B84-9702-F2C2394EF947}"/>
                </a:ext>
              </a:extLst>
            </p:cNvPr>
            <p:cNvSpPr>
              <a:spLocks noChangeArrowheads="1"/>
            </p:cNvSpPr>
            <p:nvPr/>
          </p:nvSpPr>
          <p:spPr bwMode="auto">
            <a:xfrm>
              <a:off x="2565" y="1872"/>
              <a:ext cx="453"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 Historical data</a:t>
              </a:r>
              <a:endParaRPr lang="en-US" altLang="en-US" sz="1200" b="0">
                <a:latin typeface="+mn-lt"/>
              </a:endParaRPr>
            </a:p>
          </p:txBody>
        </p:sp>
        <p:sp>
          <p:nvSpPr>
            <p:cNvPr id="51" name="Rectangle 50">
              <a:extLst>
                <a:ext uri="{FF2B5EF4-FFF2-40B4-BE49-F238E27FC236}">
                  <a16:creationId xmlns:a16="http://schemas.microsoft.com/office/drawing/2014/main" id="{95755926-A37D-4311-95CC-8FA65EA3AA46}"/>
                </a:ext>
              </a:extLst>
            </p:cNvPr>
            <p:cNvSpPr>
              <a:spLocks noChangeArrowheads="1"/>
            </p:cNvSpPr>
            <p:nvPr/>
          </p:nvSpPr>
          <p:spPr bwMode="auto">
            <a:xfrm>
              <a:off x="2565" y="2001"/>
              <a:ext cx="313"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 Summary</a:t>
              </a:r>
              <a:endParaRPr lang="en-US" altLang="en-US" sz="1200" b="0">
                <a:latin typeface="+mn-lt"/>
              </a:endParaRPr>
            </a:p>
          </p:txBody>
        </p:sp>
        <p:sp>
          <p:nvSpPr>
            <p:cNvPr id="52" name="Rectangle 51">
              <a:extLst>
                <a:ext uri="{FF2B5EF4-FFF2-40B4-BE49-F238E27FC236}">
                  <a16:creationId xmlns:a16="http://schemas.microsoft.com/office/drawing/2014/main" id="{154B059B-1D19-49A9-9A5B-2CF23FD00BB4}"/>
                </a:ext>
              </a:extLst>
            </p:cNvPr>
            <p:cNvSpPr>
              <a:spLocks noChangeArrowheads="1"/>
            </p:cNvSpPr>
            <p:nvPr/>
          </p:nvSpPr>
          <p:spPr bwMode="auto">
            <a:xfrm>
              <a:off x="2565" y="2139"/>
              <a:ext cx="381"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 Non-volatile</a:t>
              </a:r>
              <a:endParaRPr lang="en-US" altLang="en-US" sz="1200" b="0">
                <a:latin typeface="+mn-lt"/>
              </a:endParaRPr>
            </a:p>
          </p:txBody>
        </p:sp>
        <p:sp>
          <p:nvSpPr>
            <p:cNvPr id="53" name="Rectangle 52">
              <a:extLst>
                <a:ext uri="{FF2B5EF4-FFF2-40B4-BE49-F238E27FC236}">
                  <a16:creationId xmlns:a16="http://schemas.microsoft.com/office/drawing/2014/main" id="{C9774FBE-3F4C-4981-9B76-16F439D8F4D8}"/>
                </a:ext>
              </a:extLst>
            </p:cNvPr>
            <p:cNvSpPr>
              <a:spLocks noChangeArrowheads="1"/>
            </p:cNvSpPr>
            <p:nvPr/>
          </p:nvSpPr>
          <p:spPr bwMode="auto">
            <a:xfrm>
              <a:off x="2577" y="2268"/>
              <a:ext cx="460"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b="0">
                  <a:solidFill>
                    <a:srgbClr val="000000"/>
                  </a:solidFill>
                  <a:latin typeface="+mn-lt"/>
                </a:rPr>
                <a:t>Snapshots only</a:t>
              </a:r>
              <a:endParaRPr lang="en-US" altLang="en-US" sz="1200" b="0">
                <a:latin typeface="+mn-lt"/>
              </a:endParaRPr>
            </a:p>
          </p:txBody>
        </p:sp>
        <p:sp>
          <p:nvSpPr>
            <p:cNvPr id="54" name="Rectangle 53">
              <a:extLst>
                <a:ext uri="{FF2B5EF4-FFF2-40B4-BE49-F238E27FC236}">
                  <a16:creationId xmlns:a16="http://schemas.microsoft.com/office/drawing/2014/main" id="{C99740BD-3C84-4585-9857-57C51819E358}"/>
                </a:ext>
              </a:extLst>
            </p:cNvPr>
            <p:cNvSpPr>
              <a:spLocks noChangeArrowheads="1"/>
            </p:cNvSpPr>
            <p:nvPr/>
          </p:nvSpPr>
          <p:spPr bwMode="auto">
            <a:xfrm>
              <a:off x="2480" y="1232"/>
              <a:ext cx="781"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1200">
                <a:latin typeface="+mn-lt"/>
              </a:endParaRPr>
            </a:p>
          </p:txBody>
        </p:sp>
        <p:sp>
          <p:nvSpPr>
            <p:cNvPr id="55" name="Rectangle 54">
              <a:extLst>
                <a:ext uri="{FF2B5EF4-FFF2-40B4-BE49-F238E27FC236}">
                  <a16:creationId xmlns:a16="http://schemas.microsoft.com/office/drawing/2014/main" id="{3D83C0AD-4162-49A1-B5E9-A938C9A2DBB6}"/>
                </a:ext>
              </a:extLst>
            </p:cNvPr>
            <p:cNvSpPr>
              <a:spLocks noChangeArrowheads="1"/>
            </p:cNvSpPr>
            <p:nvPr/>
          </p:nvSpPr>
          <p:spPr bwMode="auto">
            <a:xfrm>
              <a:off x="2519" y="1219"/>
              <a:ext cx="556"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r>
                <a:rPr lang="en-US" altLang="en-US" sz="1200" u="sng">
                  <a:solidFill>
                    <a:srgbClr val="000000"/>
                  </a:solidFill>
                  <a:latin typeface="+mn-lt"/>
                </a:rPr>
                <a:t>Data Warehouse</a:t>
              </a:r>
              <a:endParaRPr lang="en-US" altLang="en-US" sz="1200" b="0">
                <a:latin typeface="+mn-lt"/>
              </a:endParaRPr>
            </a:p>
          </p:txBody>
        </p:sp>
        <p:grpSp>
          <p:nvGrpSpPr>
            <p:cNvPr id="56" name="Group 55">
              <a:extLst>
                <a:ext uri="{FF2B5EF4-FFF2-40B4-BE49-F238E27FC236}">
                  <a16:creationId xmlns:a16="http://schemas.microsoft.com/office/drawing/2014/main" id="{2F3DF735-7ADE-4A3B-A82B-77AB07122275}"/>
                </a:ext>
              </a:extLst>
            </p:cNvPr>
            <p:cNvGrpSpPr>
              <a:grpSpLocks/>
            </p:cNvGrpSpPr>
            <p:nvPr/>
          </p:nvGrpSpPr>
          <p:grpSpPr bwMode="auto">
            <a:xfrm>
              <a:off x="2709" y="1385"/>
              <a:ext cx="332" cy="395"/>
              <a:chOff x="3207" y="1827"/>
              <a:chExt cx="300" cy="395"/>
            </a:xfrm>
          </p:grpSpPr>
          <p:sp>
            <p:nvSpPr>
              <p:cNvPr id="62" name="Freeform 56">
                <a:extLst>
                  <a:ext uri="{FF2B5EF4-FFF2-40B4-BE49-F238E27FC236}">
                    <a16:creationId xmlns:a16="http://schemas.microsoft.com/office/drawing/2014/main" id="{7FEDC210-EDED-41CE-87DC-84D941A44D49}"/>
                  </a:ext>
                </a:extLst>
              </p:cNvPr>
              <p:cNvSpPr>
                <a:spLocks/>
              </p:cNvSpPr>
              <p:nvPr/>
            </p:nvSpPr>
            <p:spPr bwMode="auto">
              <a:xfrm>
                <a:off x="3207" y="1827"/>
                <a:ext cx="300" cy="395"/>
              </a:xfrm>
              <a:custGeom>
                <a:avLst/>
                <a:gdLst>
                  <a:gd name="T0" fmla="*/ 331 w 600"/>
                  <a:gd name="T1" fmla="*/ 1 h 791"/>
                  <a:gd name="T2" fmla="*/ 389 w 600"/>
                  <a:gd name="T3" fmla="*/ 6 h 791"/>
                  <a:gd name="T4" fmla="*/ 443 w 600"/>
                  <a:gd name="T5" fmla="*/ 16 h 791"/>
                  <a:gd name="T6" fmla="*/ 491 w 600"/>
                  <a:gd name="T7" fmla="*/ 29 h 791"/>
                  <a:gd name="T8" fmla="*/ 531 w 600"/>
                  <a:gd name="T9" fmla="*/ 48 h 791"/>
                  <a:gd name="T10" fmla="*/ 564 w 600"/>
                  <a:gd name="T11" fmla="*/ 69 h 791"/>
                  <a:gd name="T12" fmla="*/ 586 w 600"/>
                  <a:gd name="T13" fmla="*/ 92 h 791"/>
                  <a:gd name="T14" fmla="*/ 599 w 600"/>
                  <a:gd name="T15" fmla="*/ 117 h 791"/>
                  <a:gd name="T16" fmla="*/ 600 w 600"/>
                  <a:gd name="T17" fmla="*/ 660 h 791"/>
                  <a:gd name="T18" fmla="*/ 594 w 600"/>
                  <a:gd name="T19" fmla="*/ 686 h 791"/>
                  <a:gd name="T20" fmla="*/ 576 w 600"/>
                  <a:gd name="T21" fmla="*/ 711 h 791"/>
                  <a:gd name="T22" fmla="*/ 548 w 600"/>
                  <a:gd name="T23" fmla="*/ 733 h 791"/>
                  <a:gd name="T24" fmla="*/ 512 w 600"/>
                  <a:gd name="T25" fmla="*/ 752 h 791"/>
                  <a:gd name="T26" fmla="*/ 468 w 600"/>
                  <a:gd name="T27" fmla="*/ 768 h 791"/>
                  <a:gd name="T28" fmla="*/ 417 w 600"/>
                  <a:gd name="T29" fmla="*/ 781 h 791"/>
                  <a:gd name="T30" fmla="*/ 360 w 600"/>
                  <a:gd name="T31" fmla="*/ 788 h 791"/>
                  <a:gd name="T32" fmla="*/ 300 w 600"/>
                  <a:gd name="T33" fmla="*/ 791 h 791"/>
                  <a:gd name="T34" fmla="*/ 239 w 600"/>
                  <a:gd name="T35" fmla="*/ 788 h 791"/>
                  <a:gd name="T36" fmla="*/ 184 w 600"/>
                  <a:gd name="T37" fmla="*/ 781 h 791"/>
                  <a:gd name="T38" fmla="*/ 132 w 600"/>
                  <a:gd name="T39" fmla="*/ 768 h 791"/>
                  <a:gd name="T40" fmla="*/ 88 w 600"/>
                  <a:gd name="T41" fmla="*/ 752 h 791"/>
                  <a:gd name="T42" fmla="*/ 52 w 600"/>
                  <a:gd name="T43" fmla="*/ 733 h 791"/>
                  <a:gd name="T44" fmla="*/ 23 w 600"/>
                  <a:gd name="T45" fmla="*/ 711 h 791"/>
                  <a:gd name="T46" fmla="*/ 6 w 600"/>
                  <a:gd name="T47" fmla="*/ 686 h 791"/>
                  <a:gd name="T48" fmla="*/ 0 w 600"/>
                  <a:gd name="T49" fmla="*/ 660 h 791"/>
                  <a:gd name="T50" fmla="*/ 1 w 600"/>
                  <a:gd name="T51" fmla="*/ 117 h 791"/>
                  <a:gd name="T52" fmla="*/ 13 w 600"/>
                  <a:gd name="T53" fmla="*/ 92 h 791"/>
                  <a:gd name="T54" fmla="*/ 36 w 600"/>
                  <a:gd name="T55" fmla="*/ 69 h 791"/>
                  <a:gd name="T56" fmla="*/ 69 w 600"/>
                  <a:gd name="T57" fmla="*/ 48 h 791"/>
                  <a:gd name="T58" fmla="*/ 110 w 600"/>
                  <a:gd name="T59" fmla="*/ 29 h 791"/>
                  <a:gd name="T60" fmla="*/ 157 w 600"/>
                  <a:gd name="T61" fmla="*/ 16 h 791"/>
                  <a:gd name="T62" fmla="*/ 211 w 600"/>
                  <a:gd name="T63" fmla="*/ 6 h 791"/>
                  <a:gd name="T64" fmla="*/ 269 w 600"/>
                  <a:gd name="T65" fmla="*/ 1 h 7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00"/>
                  <a:gd name="T100" fmla="*/ 0 h 791"/>
                  <a:gd name="T101" fmla="*/ 600 w 600"/>
                  <a:gd name="T102" fmla="*/ 791 h 7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00" h="791">
                    <a:moveTo>
                      <a:pt x="300" y="0"/>
                    </a:moveTo>
                    <a:lnTo>
                      <a:pt x="331" y="1"/>
                    </a:lnTo>
                    <a:lnTo>
                      <a:pt x="360" y="2"/>
                    </a:lnTo>
                    <a:lnTo>
                      <a:pt x="389" y="6"/>
                    </a:lnTo>
                    <a:lnTo>
                      <a:pt x="417" y="10"/>
                    </a:lnTo>
                    <a:lnTo>
                      <a:pt x="443" y="16"/>
                    </a:lnTo>
                    <a:lnTo>
                      <a:pt x="468" y="22"/>
                    </a:lnTo>
                    <a:lnTo>
                      <a:pt x="491" y="29"/>
                    </a:lnTo>
                    <a:lnTo>
                      <a:pt x="512" y="38"/>
                    </a:lnTo>
                    <a:lnTo>
                      <a:pt x="531" y="48"/>
                    </a:lnTo>
                    <a:lnTo>
                      <a:pt x="548" y="58"/>
                    </a:lnTo>
                    <a:lnTo>
                      <a:pt x="564" y="69"/>
                    </a:lnTo>
                    <a:lnTo>
                      <a:pt x="576" y="80"/>
                    </a:lnTo>
                    <a:lnTo>
                      <a:pt x="586" y="92"/>
                    </a:lnTo>
                    <a:lnTo>
                      <a:pt x="594" y="105"/>
                    </a:lnTo>
                    <a:lnTo>
                      <a:pt x="599" y="117"/>
                    </a:lnTo>
                    <a:lnTo>
                      <a:pt x="600" y="130"/>
                    </a:lnTo>
                    <a:lnTo>
                      <a:pt x="600" y="660"/>
                    </a:lnTo>
                    <a:lnTo>
                      <a:pt x="599" y="674"/>
                    </a:lnTo>
                    <a:lnTo>
                      <a:pt x="594" y="686"/>
                    </a:lnTo>
                    <a:lnTo>
                      <a:pt x="586" y="698"/>
                    </a:lnTo>
                    <a:lnTo>
                      <a:pt x="576" y="711"/>
                    </a:lnTo>
                    <a:lnTo>
                      <a:pt x="564" y="722"/>
                    </a:lnTo>
                    <a:lnTo>
                      <a:pt x="548" y="733"/>
                    </a:lnTo>
                    <a:lnTo>
                      <a:pt x="531" y="743"/>
                    </a:lnTo>
                    <a:lnTo>
                      <a:pt x="512" y="752"/>
                    </a:lnTo>
                    <a:lnTo>
                      <a:pt x="491" y="761"/>
                    </a:lnTo>
                    <a:lnTo>
                      <a:pt x="468" y="768"/>
                    </a:lnTo>
                    <a:lnTo>
                      <a:pt x="443" y="775"/>
                    </a:lnTo>
                    <a:lnTo>
                      <a:pt x="417" y="781"/>
                    </a:lnTo>
                    <a:lnTo>
                      <a:pt x="389" y="784"/>
                    </a:lnTo>
                    <a:lnTo>
                      <a:pt x="360" y="788"/>
                    </a:lnTo>
                    <a:lnTo>
                      <a:pt x="331" y="789"/>
                    </a:lnTo>
                    <a:lnTo>
                      <a:pt x="300" y="791"/>
                    </a:lnTo>
                    <a:lnTo>
                      <a:pt x="269" y="789"/>
                    </a:lnTo>
                    <a:lnTo>
                      <a:pt x="239" y="788"/>
                    </a:lnTo>
                    <a:lnTo>
                      <a:pt x="211" y="784"/>
                    </a:lnTo>
                    <a:lnTo>
                      <a:pt x="184" y="781"/>
                    </a:lnTo>
                    <a:lnTo>
                      <a:pt x="157" y="775"/>
                    </a:lnTo>
                    <a:lnTo>
                      <a:pt x="132" y="768"/>
                    </a:lnTo>
                    <a:lnTo>
                      <a:pt x="110" y="761"/>
                    </a:lnTo>
                    <a:lnTo>
                      <a:pt x="88" y="752"/>
                    </a:lnTo>
                    <a:lnTo>
                      <a:pt x="69" y="743"/>
                    </a:lnTo>
                    <a:lnTo>
                      <a:pt x="52" y="733"/>
                    </a:lnTo>
                    <a:lnTo>
                      <a:pt x="36" y="722"/>
                    </a:lnTo>
                    <a:lnTo>
                      <a:pt x="23" y="711"/>
                    </a:lnTo>
                    <a:lnTo>
                      <a:pt x="13" y="698"/>
                    </a:lnTo>
                    <a:lnTo>
                      <a:pt x="6" y="686"/>
                    </a:lnTo>
                    <a:lnTo>
                      <a:pt x="1" y="674"/>
                    </a:lnTo>
                    <a:lnTo>
                      <a:pt x="0" y="660"/>
                    </a:lnTo>
                    <a:lnTo>
                      <a:pt x="0" y="130"/>
                    </a:lnTo>
                    <a:lnTo>
                      <a:pt x="1" y="117"/>
                    </a:lnTo>
                    <a:lnTo>
                      <a:pt x="6" y="105"/>
                    </a:lnTo>
                    <a:lnTo>
                      <a:pt x="13" y="92"/>
                    </a:lnTo>
                    <a:lnTo>
                      <a:pt x="23" y="80"/>
                    </a:lnTo>
                    <a:lnTo>
                      <a:pt x="36" y="69"/>
                    </a:lnTo>
                    <a:lnTo>
                      <a:pt x="52" y="58"/>
                    </a:lnTo>
                    <a:lnTo>
                      <a:pt x="69" y="48"/>
                    </a:lnTo>
                    <a:lnTo>
                      <a:pt x="88" y="38"/>
                    </a:lnTo>
                    <a:lnTo>
                      <a:pt x="110" y="29"/>
                    </a:lnTo>
                    <a:lnTo>
                      <a:pt x="132" y="22"/>
                    </a:lnTo>
                    <a:lnTo>
                      <a:pt x="157" y="16"/>
                    </a:lnTo>
                    <a:lnTo>
                      <a:pt x="184" y="10"/>
                    </a:lnTo>
                    <a:lnTo>
                      <a:pt x="211" y="6"/>
                    </a:lnTo>
                    <a:lnTo>
                      <a:pt x="239" y="2"/>
                    </a:lnTo>
                    <a:lnTo>
                      <a:pt x="269" y="1"/>
                    </a:lnTo>
                    <a:lnTo>
                      <a:pt x="300" y="0"/>
                    </a:lnTo>
                    <a:close/>
                  </a:path>
                </a:pathLst>
              </a:custGeom>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defRPr/>
                </a:pPr>
                <a:endParaRPr lang="en-US" sz="1200">
                  <a:solidFill>
                    <a:srgbClr val="92D050"/>
                  </a:solidFill>
                </a:endParaRPr>
              </a:p>
            </p:txBody>
          </p:sp>
          <p:sp>
            <p:nvSpPr>
              <p:cNvPr id="63" name="Freeform 57">
                <a:extLst>
                  <a:ext uri="{FF2B5EF4-FFF2-40B4-BE49-F238E27FC236}">
                    <a16:creationId xmlns:a16="http://schemas.microsoft.com/office/drawing/2014/main" id="{B6BF0999-F538-4948-8E84-4E38ED161FC1}"/>
                  </a:ext>
                </a:extLst>
              </p:cNvPr>
              <p:cNvSpPr>
                <a:spLocks/>
              </p:cNvSpPr>
              <p:nvPr/>
            </p:nvSpPr>
            <p:spPr bwMode="auto">
              <a:xfrm>
                <a:off x="3207" y="1892"/>
                <a:ext cx="300" cy="66"/>
              </a:xfrm>
              <a:custGeom>
                <a:avLst/>
                <a:gdLst>
                  <a:gd name="T0" fmla="*/ 600 w 600"/>
                  <a:gd name="T1" fmla="*/ 0 h 132"/>
                  <a:gd name="T2" fmla="*/ 599 w 600"/>
                  <a:gd name="T3" fmla="*/ 14 h 132"/>
                  <a:gd name="T4" fmla="*/ 594 w 600"/>
                  <a:gd name="T5" fmla="*/ 28 h 132"/>
                  <a:gd name="T6" fmla="*/ 586 w 600"/>
                  <a:gd name="T7" fmla="*/ 40 h 132"/>
                  <a:gd name="T8" fmla="*/ 576 w 600"/>
                  <a:gd name="T9" fmla="*/ 52 h 132"/>
                  <a:gd name="T10" fmla="*/ 564 w 600"/>
                  <a:gd name="T11" fmla="*/ 63 h 132"/>
                  <a:gd name="T12" fmla="*/ 548 w 600"/>
                  <a:gd name="T13" fmla="*/ 74 h 132"/>
                  <a:gd name="T14" fmla="*/ 531 w 600"/>
                  <a:gd name="T15" fmla="*/ 84 h 132"/>
                  <a:gd name="T16" fmla="*/ 512 w 600"/>
                  <a:gd name="T17" fmla="*/ 94 h 132"/>
                  <a:gd name="T18" fmla="*/ 491 w 600"/>
                  <a:gd name="T19" fmla="*/ 103 h 132"/>
                  <a:gd name="T20" fmla="*/ 468 w 600"/>
                  <a:gd name="T21" fmla="*/ 110 h 132"/>
                  <a:gd name="T22" fmla="*/ 443 w 600"/>
                  <a:gd name="T23" fmla="*/ 116 h 132"/>
                  <a:gd name="T24" fmla="*/ 417 w 600"/>
                  <a:gd name="T25" fmla="*/ 122 h 132"/>
                  <a:gd name="T26" fmla="*/ 389 w 600"/>
                  <a:gd name="T27" fmla="*/ 126 h 132"/>
                  <a:gd name="T28" fmla="*/ 360 w 600"/>
                  <a:gd name="T29" fmla="*/ 130 h 132"/>
                  <a:gd name="T30" fmla="*/ 331 w 600"/>
                  <a:gd name="T31" fmla="*/ 131 h 132"/>
                  <a:gd name="T32" fmla="*/ 300 w 600"/>
                  <a:gd name="T33" fmla="*/ 132 h 132"/>
                  <a:gd name="T34" fmla="*/ 269 w 600"/>
                  <a:gd name="T35" fmla="*/ 131 h 132"/>
                  <a:gd name="T36" fmla="*/ 239 w 600"/>
                  <a:gd name="T37" fmla="*/ 130 h 132"/>
                  <a:gd name="T38" fmla="*/ 211 w 600"/>
                  <a:gd name="T39" fmla="*/ 126 h 132"/>
                  <a:gd name="T40" fmla="*/ 184 w 600"/>
                  <a:gd name="T41" fmla="*/ 122 h 132"/>
                  <a:gd name="T42" fmla="*/ 157 w 600"/>
                  <a:gd name="T43" fmla="*/ 116 h 132"/>
                  <a:gd name="T44" fmla="*/ 132 w 600"/>
                  <a:gd name="T45" fmla="*/ 110 h 132"/>
                  <a:gd name="T46" fmla="*/ 110 w 600"/>
                  <a:gd name="T47" fmla="*/ 103 h 132"/>
                  <a:gd name="T48" fmla="*/ 88 w 600"/>
                  <a:gd name="T49" fmla="*/ 94 h 132"/>
                  <a:gd name="T50" fmla="*/ 69 w 600"/>
                  <a:gd name="T51" fmla="*/ 84 h 132"/>
                  <a:gd name="T52" fmla="*/ 52 w 600"/>
                  <a:gd name="T53" fmla="*/ 74 h 132"/>
                  <a:gd name="T54" fmla="*/ 36 w 600"/>
                  <a:gd name="T55" fmla="*/ 63 h 132"/>
                  <a:gd name="T56" fmla="*/ 23 w 600"/>
                  <a:gd name="T57" fmla="*/ 52 h 132"/>
                  <a:gd name="T58" fmla="*/ 13 w 600"/>
                  <a:gd name="T59" fmla="*/ 40 h 132"/>
                  <a:gd name="T60" fmla="*/ 6 w 600"/>
                  <a:gd name="T61" fmla="*/ 28 h 132"/>
                  <a:gd name="T62" fmla="*/ 1 w 600"/>
                  <a:gd name="T63" fmla="*/ 14 h 132"/>
                  <a:gd name="T64" fmla="*/ 0 w 600"/>
                  <a:gd name="T65" fmla="*/ 0 h 1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00"/>
                  <a:gd name="T100" fmla="*/ 0 h 132"/>
                  <a:gd name="T101" fmla="*/ 600 w 600"/>
                  <a:gd name="T102" fmla="*/ 132 h 13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00" h="132">
                    <a:moveTo>
                      <a:pt x="600" y="0"/>
                    </a:moveTo>
                    <a:lnTo>
                      <a:pt x="599" y="14"/>
                    </a:lnTo>
                    <a:lnTo>
                      <a:pt x="594" y="28"/>
                    </a:lnTo>
                    <a:lnTo>
                      <a:pt x="586" y="40"/>
                    </a:lnTo>
                    <a:lnTo>
                      <a:pt x="576" y="52"/>
                    </a:lnTo>
                    <a:lnTo>
                      <a:pt x="564" y="63"/>
                    </a:lnTo>
                    <a:lnTo>
                      <a:pt x="548" y="74"/>
                    </a:lnTo>
                    <a:lnTo>
                      <a:pt x="531" y="84"/>
                    </a:lnTo>
                    <a:lnTo>
                      <a:pt x="512" y="94"/>
                    </a:lnTo>
                    <a:lnTo>
                      <a:pt x="491" y="103"/>
                    </a:lnTo>
                    <a:lnTo>
                      <a:pt x="468" y="110"/>
                    </a:lnTo>
                    <a:lnTo>
                      <a:pt x="443" y="116"/>
                    </a:lnTo>
                    <a:lnTo>
                      <a:pt x="417" y="122"/>
                    </a:lnTo>
                    <a:lnTo>
                      <a:pt x="389" y="126"/>
                    </a:lnTo>
                    <a:lnTo>
                      <a:pt x="360" y="130"/>
                    </a:lnTo>
                    <a:lnTo>
                      <a:pt x="331" y="131"/>
                    </a:lnTo>
                    <a:lnTo>
                      <a:pt x="300" y="132"/>
                    </a:lnTo>
                    <a:lnTo>
                      <a:pt x="269" y="131"/>
                    </a:lnTo>
                    <a:lnTo>
                      <a:pt x="239" y="130"/>
                    </a:lnTo>
                    <a:lnTo>
                      <a:pt x="211" y="126"/>
                    </a:lnTo>
                    <a:lnTo>
                      <a:pt x="184" y="122"/>
                    </a:lnTo>
                    <a:lnTo>
                      <a:pt x="157" y="116"/>
                    </a:lnTo>
                    <a:lnTo>
                      <a:pt x="132" y="110"/>
                    </a:lnTo>
                    <a:lnTo>
                      <a:pt x="110" y="103"/>
                    </a:lnTo>
                    <a:lnTo>
                      <a:pt x="88" y="94"/>
                    </a:lnTo>
                    <a:lnTo>
                      <a:pt x="69" y="84"/>
                    </a:lnTo>
                    <a:lnTo>
                      <a:pt x="52" y="74"/>
                    </a:lnTo>
                    <a:lnTo>
                      <a:pt x="36" y="63"/>
                    </a:lnTo>
                    <a:lnTo>
                      <a:pt x="23" y="52"/>
                    </a:lnTo>
                    <a:lnTo>
                      <a:pt x="13" y="40"/>
                    </a:lnTo>
                    <a:lnTo>
                      <a:pt x="6" y="28"/>
                    </a:lnTo>
                    <a:lnTo>
                      <a:pt x="1" y="14"/>
                    </a:lnTo>
                    <a:lnTo>
                      <a:pt x="0" y="0"/>
                    </a:lnTo>
                  </a:path>
                </a:pathLst>
              </a:custGeom>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defRPr/>
                </a:pPr>
                <a:endParaRPr lang="en-US" sz="1200">
                  <a:solidFill>
                    <a:srgbClr val="92D050"/>
                  </a:solidFill>
                </a:endParaRPr>
              </a:p>
            </p:txBody>
          </p:sp>
        </p:grpSp>
        <p:sp>
          <p:nvSpPr>
            <p:cNvPr id="57" name="Line 58">
              <a:extLst>
                <a:ext uri="{FF2B5EF4-FFF2-40B4-BE49-F238E27FC236}">
                  <a16:creationId xmlns:a16="http://schemas.microsoft.com/office/drawing/2014/main" id="{CA8C2F12-359A-4CF9-953B-63F3CEC2B0D2}"/>
                </a:ext>
              </a:extLst>
            </p:cNvPr>
            <p:cNvSpPr>
              <a:spLocks noChangeShapeType="1"/>
            </p:cNvSpPr>
            <p:nvPr/>
          </p:nvSpPr>
          <p:spPr bwMode="auto">
            <a:xfrm flipV="1">
              <a:off x="3072" y="1344"/>
              <a:ext cx="480" cy="144"/>
            </a:xfrm>
            <a:prstGeom prst="line">
              <a:avLst/>
            </a:prstGeom>
            <a:noFill/>
            <a:ln w="9525">
              <a:solidFill>
                <a:srgbClr val="000000"/>
              </a:solidFill>
              <a:round/>
              <a:headEnd/>
              <a:tailEnd type="triangle" w="med" len="sm"/>
            </a:ln>
            <a:extLst>
              <a:ext uri="{909E8E84-426E-40DD-AFC4-6F175D3DCCD1}">
                <a14:hiddenFill xmlns:a14="http://schemas.microsoft.com/office/drawing/2010/main">
                  <a:noFill/>
                </a14:hiddenFill>
              </a:ext>
            </a:extLst>
          </p:spPr>
          <p:txBody>
            <a:bodyPr wrap="none" anchor="ctr"/>
            <a:lstStyle/>
            <a:p>
              <a:endParaRPr lang="en-US" sz="1200"/>
            </a:p>
          </p:txBody>
        </p:sp>
        <p:sp>
          <p:nvSpPr>
            <p:cNvPr id="58" name="Line 59">
              <a:extLst>
                <a:ext uri="{FF2B5EF4-FFF2-40B4-BE49-F238E27FC236}">
                  <a16:creationId xmlns:a16="http://schemas.microsoft.com/office/drawing/2014/main" id="{96A6A0F5-20E5-4FB6-8269-43033E254998}"/>
                </a:ext>
              </a:extLst>
            </p:cNvPr>
            <p:cNvSpPr>
              <a:spLocks noChangeShapeType="1"/>
            </p:cNvSpPr>
            <p:nvPr/>
          </p:nvSpPr>
          <p:spPr bwMode="auto">
            <a:xfrm flipV="1">
              <a:off x="3072" y="1488"/>
              <a:ext cx="480" cy="48"/>
            </a:xfrm>
            <a:prstGeom prst="line">
              <a:avLst/>
            </a:prstGeom>
            <a:noFill/>
            <a:ln w="9525">
              <a:solidFill>
                <a:srgbClr val="000000"/>
              </a:solidFill>
              <a:round/>
              <a:headEnd/>
              <a:tailEnd type="triangle" w="med" len="sm"/>
            </a:ln>
            <a:extLst>
              <a:ext uri="{909E8E84-426E-40DD-AFC4-6F175D3DCCD1}">
                <a14:hiddenFill xmlns:a14="http://schemas.microsoft.com/office/drawing/2010/main">
                  <a:noFill/>
                </a14:hiddenFill>
              </a:ext>
            </a:extLst>
          </p:spPr>
          <p:txBody>
            <a:bodyPr wrap="none" anchor="ctr"/>
            <a:lstStyle/>
            <a:p>
              <a:endParaRPr lang="en-US" sz="1200"/>
            </a:p>
          </p:txBody>
        </p:sp>
        <p:sp>
          <p:nvSpPr>
            <p:cNvPr id="59" name="Line 60">
              <a:extLst>
                <a:ext uri="{FF2B5EF4-FFF2-40B4-BE49-F238E27FC236}">
                  <a16:creationId xmlns:a16="http://schemas.microsoft.com/office/drawing/2014/main" id="{42B33D75-72AF-4731-A67A-8E3E99C7851E}"/>
                </a:ext>
              </a:extLst>
            </p:cNvPr>
            <p:cNvSpPr>
              <a:spLocks noChangeShapeType="1"/>
            </p:cNvSpPr>
            <p:nvPr/>
          </p:nvSpPr>
          <p:spPr bwMode="auto">
            <a:xfrm>
              <a:off x="3072" y="1584"/>
              <a:ext cx="480" cy="48"/>
            </a:xfrm>
            <a:prstGeom prst="line">
              <a:avLst/>
            </a:prstGeom>
            <a:noFill/>
            <a:ln w="9525">
              <a:solidFill>
                <a:srgbClr val="000000"/>
              </a:solidFill>
              <a:round/>
              <a:headEnd/>
              <a:tailEnd type="triangle" w="med" len="sm"/>
            </a:ln>
            <a:extLst>
              <a:ext uri="{909E8E84-426E-40DD-AFC4-6F175D3DCCD1}">
                <a14:hiddenFill xmlns:a14="http://schemas.microsoft.com/office/drawing/2010/main">
                  <a:noFill/>
                </a14:hiddenFill>
              </a:ext>
            </a:extLst>
          </p:spPr>
          <p:txBody>
            <a:bodyPr wrap="none" anchor="ctr"/>
            <a:lstStyle/>
            <a:p>
              <a:endParaRPr lang="en-US" sz="1200"/>
            </a:p>
          </p:txBody>
        </p:sp>
        <p:sp>
          <p:nvSpPr>
            <p:cNvPr id="60" name="Line 61">
              <a:extLst>
                <a:ext uri="{FF2B5EF4-FFF2-40B4-BE49-F238E27FC236}">
                  <a16:creationId xmlns:a16="http://schemas.microsoft.com/office/drawing/2014/main" id="{9E2BED1B-2F17-48C5-9F16-0F2E6D62D7DD}"/>
                </a:ext>
              </a:extLst>
            </p:cNvPr>
            <p:cNvSpPr>
              <a:spLocks noChangeShapeType="1"/>
            </p:cNvSpPr>
            <p:nvPr/>
          </p:nvSpPr>
          <p:spPr bwMode="auto">
            <a:xfrm>
              <a:off x="3072" y="1632"/>
              <a:ext cx="480" cy="96"/>
            </a:xfrm>
            <a:prstGeom prst="line">
              <a:avLst/>
            </a:prstGeom>
            <a:noFill/>
            <a:ln w="9525">
              <a:solidFill>
                <a:srgbClr val="000000"/>
              </a:solidFill>
              <a:round/>
              <a:headEnd/>
              <a:tailEnd type="triangle" w="med" len="sm"/>
            </a:ln>
            <a:extLst>
              <a:ext uri="{909E8E84-426E-40DD-AFC4-6F175D3DCCD1}">
                <a14:hiddenFill xmlns:a14="http://schemas.microsoft.com/office/drawing/2010/main">
                  <a:noFill/>
                </a14:hiddenFill>
              </a:ext>
            </a:extLst>
          </p:spPr>
          <p:txBody>
            <a:bodyPr wrap="none" anchor="ctr"/>
            <a:lstStyle/>
            <a:p>
              <a:endParaRPr lang="en-US" sz="1200"/>
            </a:p>
          </p:txBody>
        </p:sp>
        <p:sp>
          <p:nvSpPr>
            <p:cNvPr id="61" name="Freeform 62">
              <a:extLst>
                <a:ext uri="{FF2B5EF4-FFF2-40B4-BE49-F238E27FC236}">
                  <a16:creationId xmlns:a16="http://schemas.microsoft.com/office/drawing/2014/main" id="{4EA96EDD-27E3-4FA2-B880-A5C87E9780FF}"/>
                </a:ext>
              </a:extLst>
            </p:cNvPr>
            <p:cNvSpPr>
              <a:spLocks/>
            </p:cNvSpPr>
            <p:nvPr/>
          </p:nvSpPr>
          <p:spPr bwMode="auto">
            <a:xfrm>
              <a:off x="2248" y="1104"/>
              <a:ext cx="200" cy="1440"/>
            </a:xfrm>
            <a:custGeom>
              <a:avLst/>
              <a:gdLst>
                <a:gd name="T0" fmla="*/ 85 w 248"/>
                <a:gd name="T1" fmla="*/ 0 h 1392"/>
                <a:gd name="T2" fmla="*/ 2 w 248"/>
                <a:gd name="T3" fmla="*/ 228 h 1392"/>
                <a:gd name="T4" fmla="*/ 69 w 248"/>
                <a:gd name="T5" fmla="*/ 455 h 1392"/>
                <a:gd name="T6" fmla="*/ 19 w 248"/>
                <a:gd name="T7" fmla="*/ 740 h 1392"/>
                <a:gd name="T8" fmla="*/ 69 w 248"/>
                <a:gd name="T9" fmla="*/ 966 h 1392"/>
                <a:gd name="T10" fmla="*/ 19 w 248"/>
                <a:gd name="T11" fmla="*/ 1194 h 1392"/>
                <a:gd name="T12" fmla="*/ 69 w 248"/>
                <a:gd name="T13" fmla="*/ 1479 h 1392"/>
                <a:gd name="T14" fmla="*/ 35 w 248"/>
                <a:gd name="T15" fmla="*/ 1649 h 1392"/>
                <a:gd name="T16" fmla="*/ 0 60000 65536"/>
                <a:gd name="T17" fmla="*/ 0 60000 65536"/>
                <a:gd name="T18" fmla="*/ 0 60000 65536"/>
                <a:gd name="T19" fmla="*/ 0 60000 65536"/>
                <a:gd name="T20" fmla="*/ 0 60000 65536"/>
                <a:gd name="T21" fmla="*/ 0 60000 65536"/>
                <a:gd name="T22" fmla="*/ 0 60000 65536"/>
                <a:gd name="T23" fmla="*/ 0 60000 65536"/>
                <a:gd name="T24" fmla="*/ 0 w 248"/>
                <a:gd name="T25" fmla="*/ 0 h 1392"/>
                <a:gd name="T26" fmla="*/ 248 w 248"/>
                <a:gd name="T27" fmla="*/ 1392 h 13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8" h="1392">
                  <a:moveTo>
                    <a:pt x="248" y="0"/>
                  </a:moveTo>
                  <a:cubicBezTo>
                    <a:pt x="132" y="64"/>
                    <a:pt x="16" y="128"/>
                    <a:pt x="8" y="192"/>
                  </a:cubicBezTo>
                  <a:cubicBezTo>
                    <a:pt x="0" y="256"/>
                    <a:pt x="192" y="312"/>
                    <a:pt x="200" y="384"/>
                  </a:cubicBezTo>
                  <a:cubicBezTo>
                    <a:pt x="208" y="456"/>
                    <a:pt x="56" y="552"/>
                    <a:pt x="56" y="624"/>
                  </a:cubicBezTo>
                  <a:cubicBezTo>
                    <a:pt x="56" y="696"/>
                    <a:pt x="200" y="752"/>
                    <a:pt x="200" y="816"/>
                  </a:cubicBezTo>
                  <a:cubicBezTo>
                    <a:pt x="200" y="880"/>
                    <a:pt x="56" y="936"/>
                    <a:pt x="56" y="1008"/>
                  </a:cubicBezTo>
                  <a:cubicBezTo>
                    <a:pt x="56" y="1080"/>
                    <a:pt x="192" y="1184"/>
                    <a:pt x="200" y="1248"/>
                  </a:cubicBezTo>
                  <a:cubicBezTo>
                    <a:pt x="208" y="1312"/>
                    <a:pt x="120" y="1368"/>
                    <a:pt x="104" y="1392"/>
                  </a:cubicBezTo>
                </a:path>
              </a:pathLst>
            </a:custGeom>
            <a:noFill/>
            <a:ln w="9525" cap="flat">
              <a:solidFill>
                <a:srgbClr val="000000"/>
              </a:solidFill>
              <a:prstDash val="dash"/>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200"/>
            </a:p>
          </p:txBody>
        </p:sp>
      </p:grpSp>
    </p:spTree>
    <p:extLst>
      <p:ext uri="{BB962C8B-B14F-4D97-AF65-F5344CB8AC3E}">
        <p14:creationId xmlns:p14="http://schemas.microsoft.com/office/powerpoint/2010/main" val="212507175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399" y="172732"/>
            <a:ext cx="8442325" cy="595313"/>
          </a:xfrm>
        </p:spPr>
        <p:txBody>
          <a:bodyPr/>
          <a:lstStyle/>
          <a:p>
            <a:r>
              <a:rPr kumimoji="0" lang="en-US" sz="2800" b="1" i="0" u="none" strike="noStrike" kern="0" cap="none" spc="0" normalizeH="0" baseline="0" noProof="0" dirty="0">
                <a:ln>
                  <a:noFill/>
                </a:ln>
                <a:effectLst/>
                <a:uLnTx/>
                <a:uFillTx/>
                <a:ea typeface="+mj-ea"/>
                <a:cs typeface="+mj-cs"/>
              </a:rPr>
              <a:t>Data Marts</a:t>
            </a:r>
            <a:endParaRPr lang="en-US" sz="2800" b="1" dirty="0"/>
          </a:p>
        </p:txBody>
      </p:sp>
      <p:sp>
        <p:nvSpPr>
          <p:cNvPr id="6" name="Rectangle 3">
            <a:extLst>
              <a:ext uri="{FF2B5EF4-FFF2-40B4-BE49-F238E27FC236}">
                <a16:creationId xmlns:a16="http://schemas.microsoft.com/office/drawing/2014/main" id="{786BFADE-A9C4-48BF-B7C9-302C6C6815B9}"/>
              </a:ext>
            </a:extLst>
          </p:cNvPr>
          <p:cNvSpPr txBox="1">
            <a:spLocks noChangeArrowheads="1"/>
          </p:cNvSpPr>
          <p:nvPr/>
        </p:nvSpPr>
        <p:spPr>
          <a:xfrm>
            <a:off x="198127" y="768045"/>
            <a:ext cx="8945873" cy="4108755"/>
          </a:xfrm>
          <a:prstGeom prst="rect">
            <a:avLst/>
          </a:prstGeom>
          <a:noFill/>
        </p:spPr>
        <p:txBody>
          <a:bodyPr vert="horz" lIns="0" tIns="0" rIns="0" bIns="0" rtlCol="0">
            <a:normAutofit fontScale="92500" lnSpcReduction="10000"/>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buClr>
                <a:srgbClr val="92D050"/>
              </a:buClr>
              <a:buFont typeface="Wingdings" panose="05000000000000000000" pitchFamily="2" charset="2"/>
              <a:buChar char="§"/>
            </a:pPr>
            <a:r>
              <a:rPr lang="en-US" sz="2100" dirty="0">
                <a:latin typeface="Arial" panose="020B0604020202020204" pitchFamily="34" charset="0"/>
                <a:cs typeface="Arial" panose="020B0604020202020204" pitchFamily="34" charset="0"/>
              </a:rPr>
              <a:t>Small Data Stores</a:t>
            </a:r>
          </a:p>
          <a:p>
            <a:pPr marL="342900" indent="-342900">
              <a:buClr>
                <a:srgbClr val="92D050"/>
              </a:buClr>
              <a:buFont typeface="Wingdings" panose="05000000000000000000" pitchFamily="2" charset="2"/>
              <a:buChar char="§"/>
            </a:pPr>
            <a:r>
              <a:rPr lang="en-US" sz="2100" dirty="0">
                <a:latin typeface="Arial" panose="020B0604020202020204" pitchFamily="34" charset="0"/>
                <a:cs typeface="Arial" panose="020B0604020202020204" pitchFamily="34" charset="0"/>
              </a:rPr>
              <a:t>More manageable data sets</a:t>
            </a:r>
          </a:p>
          <a:p>
            <a:pPr marL="342900" indent="-342900">
              <a:buClr>
                <a:srgbClr val="92D050"/>
              </a:buClr>
              <a:buFont typeface="Wingdings" panose="05000000000000000000" pitchFamily="2" charset="2"/>
              <a:buChar char="§"/>
            </a:pPr>
            <a:r>
              <a:rPr lang="en-US" sz="2100" dirty="0">
                <a:latin typeface="Arial" panose="020B0604020202020204" pitchFamily="34" charset="0"/>
                <a:cs typeface="Arial" panose="020B0604020202020204" pitchFamily="34" charset="0"/>
              </a:rPr>
              <a:t>Targeted to meet the needs of small groups within the organization</a:t>
            </a:r>
          </a:p>
          <a:p>
            <a:pPr marL="342900" indent="-342900">
              <a:buClr>
                <a:srgbClr val="92D050"/>
              </a:buClr>
              <a:buFont typeface="Wingdings" panose="05000000000000000000" pitchFamily="2" charset="2"/>
              <a:buChar char="§"/>
            </a:pPr>
            <a:r>
              <a:rPr lang="en-US" sz="2100" dirty="0">
                <a:latin typeface="Arial" panose="020B0604020202020204" pitchFamily="34" charset="0"/>
                <a:cs typeface="Arial" panose="020B0604020202020204" pitchFamily="34" charset="0"/>
              </a:rPr>
              <a:t>Small, Single-Subject data warehouse subset that provides decision support to a small group of people</a:t>
            </a:r>
          </a:p>
          <a:p>
            <a:pPr marL="342900" indent="-342900">
              <a:buClr>
                <a:srgbClr val="92D050"/>
              </a:buClr>
              <a:buFont typeface="Wingdings" panose="05000000000000000000" pitchFamily="2" charset="2"/>
              <a:buChar char="§"/>
            </a:pPr>
            <a:r>
              <a:rPr lang="en-US" sz="2100" dirty="0">
                <a:latin typeface="Arial" panose="020B0604020202020204" pitchFamily="34" charset="0"/>
                <a:cs typeface="Arial" panose="020B0604020202020204" pitchFamily="34" charset="0"/>
              </a:rPr>
              <a:t>Enterprise wide data warehousing projects have a very large cycle time</a:t>
            </a:r>
          </a:p>
          <a:p>
            <a:pPr marL="342900" indent="-342900">
              <a:buClr>
                <a:srgbClr val="92D050"/>
              </a:buClr>
              <a:buFont typeface="Wingdings" panose="05000000000000000000" pitchFamily="2" charset="2"/>
              <a:buChar char="§"/>
            </a:pPr>
            <a:r>
              <a:rPr lang="en-US" sz="2100" dirty="0">
                <a:latin typeface="Arial" panose="020B0604020202020204" pitchFamily="34" charset="0"/>
                <a:cs typeface="Arial" panose="020B0604020202020204" pitchFamily="34" charset="0"/>
              </a:rPr>
              <a:t>Getting consensus between multiple parties may also be difficult</a:t>
            </a:r>
          </a:p>
          <a:p>
            <a:pPr marL="342900" indent="-342900">
              <a:buClr>
                <a:srgbClr val="92D050"/>
              </a:buClr>
              <a:buFont typeface="Wingdings" panose="05000000000000000000" pitchFamily="2" charset="2"/>
              <a:buChar char="§"/>
            </a:pPr>
            <a:r>
              <a:rPr lang="en-US" sz="2100" dirty="0">
                <a:latin typeface="Arial" panose="020B0604020202020204" pitchFamily="34" charset="0"/>
                <a:cs typeface="Arial" panose="020B0604020202020204" pitchFamily="34" charset="0"/>
              </a:rPr>
              <a:t>Departments may not be satisfied with priority accorded to them</a:t>
            </a:r>
          </a:p>
          <a:p>
            <a:pPr marL="342900" indent="-342900">
              <a:buClr>
                <a:srgbClr val="92D050"/>
              </a:buClr>
              <a:buFont typeface="Wingdings" panose="05000000000000000000" pitchFamily="2" charset="2"/>
              <a:buChar char="§"/>
            </a:pPr>
            <a:r>
              <a:rPr lang="en-US" sz="2100" dirty="0">
                <a:latin typeface="Arial" panose="020B0604020202020204" pitchFamily="34" charset="0"/>
                <a:cs typeface="Arial" panose="020B0604020202020204" pitchFamily="34" charset="0"/>
              </a:rPr>
              <a:t>Sometimes individual departmental needs may be strong enough to warrant a local implementation</a:t>
            </a:r>
          </a:p>
          <a:p>
            <a:pPr marL="342900" indent="-342900">
              <a:buClr>
                <a:srgbClr val="92D050"/>
              </a:buClr>
              <a:buFont typeface="Wingdings" panose="05000000000000000000" pitchFamily="2" charset="2"/>
              <a:buChar char="§"/>
            </a:pPr>
            <a:r>
              <a:rPr lang="en-US" sz="2100" dirty="0">
                <a:latin typeface="Arial" panose="020B0604020202020204" pitchFamily="34" charset="0"/>
                <a:cs typeface="Arial" panose="020B0604020202020204" pitchFamily="34" charset="0"/>
              </a:rPr>
              <a:t>Application/database distribution is also an important factor</a:t>
            </a:r>
          </a:p>
          <a:p>
            <a:pPr>
              <a:lnSpc>
                <a:spcPct val="90000"/>
              </a:lnSpc>
            </a:pPr>
            <a:endParaRPr lang="en-US" dirty="0"/>
          </a:p>
        </p:txBody>
      </p:sp>
    </p:spTree>
    <p:extLst>
      <p:ext uri="{BB962C8B-B14F-4D97-AF65-F5344CB8AC3E}">
        <p14:creationId xmlns:p14="http://schemas.microsoft.com/office/powerpoint/2010/main" val="184833651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24762" y="319769"/>
            <a:ext cx="8439150" cy="757255"/>
          </a:xfrm>
        </p:spPr>
        <p:txBody>
          <a:bodyPr/>
          <a:lstStyle/>
          <a:p>
            <a:r>
              <a:rPr lang="en-US" sz="2800" b="1" dirty="0">
                <a:solidFill>
                  <a:schemeClr val="tx1"/>
                </a:solidFill>
              </a:rPr>
              <a:t>Data Mart Overview</a:t>
            </a:r>
          </a:p>
        </p:txBody>
      </p:sp>
      <p:grpSp>
        <p:nvGrpSpPr>
          <p:cNvPr id="225" name="Group 224"/>
          <p:cNvGrpSpPr/>
          <p:nvPr/>
        </p:nvGrpSpPr>
        <p:grpSpPr>
          <a:xfrm>
            <a:off x="685800" y="1406478"/>
            <a:ext cx="7259801" cy="4045043"/>
            <a:chOff x="1237129" y="1378324"/>
            <a:chExt cx="6649326" cy="4312958"/>
          </a:xfrm>
        </p:grpSpPr>
        <p:grpSp>
          <p:nvGrpSpPr>
            <p:cNvPr id="4" name="Group 2"/>
            <p:cNvGrpSpPr>
              <a:grpSpLocks/>
            </p:cNvGrpSpPr>
            <p:nvPr/>
          </p:nvGrpSpPr>
          <p:grpSpPr bwMode="auto">
            <a:xfrm>
              <a:off x="1237129" y="1378324"/>
              <a:ext cx="6649326" cy="4312958"/>
              <a:chOff x="1676400" y="1571942"/>
              <a:chExt cx="6508751" cy="4346575"/>
            </a:xfrm>
          </p:grpSpPr>
          <p:grpSp>
            <p:nvGrpSpPr>
              <p:cNvPr id="5" name="Group 4"/>
              <p:cNvGrpSpPr>
                <a:grpSpLocks/>
              </p:cNvGrpSpPr>
              <p:nvPr/>
            </p:nvGrpSpPr>
            <p:grpSpPr bwMode="auto">
              <a:xfrm>
                <a:off x="1676400" y="1571942"/>
                <a:ext cx="6508751" cy="4346575"/>
                <a:chOff x="1044" y="1006"/>
                <a:chExt cx="4100" cy="2738"/>
              </a:xfrm>
            </p:grpSpPr>
            <p:sp>
              <p:nvSpPr>
                <p:cNvPr id="11" name="Rectangle 6"/>
                <p:cNvSpPr>
                  <a:spLocks noChangeArrowheads="1"/>
                </p:cNvSpPr>
                <p:nvPr/>
              </p:nvSpPr>
              <p:spPr bwMode="auto">
                <a:xfrm>
                  <a:off x="1180" y="3032"/>
                  <a:ext cx="741" cy="663"/>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p>
              </p:txBody>
            </p:sp>
            <p:sp>
              <p:nvSpPr>
                <p:cNvPr id="12" name="Rectangle 7"/>
                <p:cNvSpPr>
                  <a:spLocks noChangeArrowheads="1"/>
                </p:cNvSpPr>
                <p:nvPr/>
              </p:nvSpPr>
              <p:spPr bwMode="auto">
                <a:xfrm>
                  <a:off x="1223" y="3062"/>
                  <a:ext cx="485"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900">
                      <a:solidFill>
                        <a:srgbClr val="000000"/>
                      </a:solidFill>
                    </a:rPr>
                    <a:t>Data Marts</a:t>
                  </a:r>
                  <a:endParaRPr lang="en-US" altLang="en-US" sz="1800" b="0">
                    <a:solidFill>
                      <a:srgbClr val="000000"/>
                    </a:solidFill>
                  </a:endParaRPr>
                </a:p>
              </p:txBody>
            </p:sp>
            <p:sp>
              <p:nvSpPr>
                <p:cNvPr id="13" name="Rectangle 8"/>
                <p:cNvSpPr>
                  <a:spLocks noChangeArrowheads="1"/>
                </p:cNvSpPr>
                <p:nvPr/>
              </p:nvSpPr>
              <p:spPr bwMode="auto">
                <a:xfrm>
                  <a:off x="1223" y="3249"/>
                  <a:ext cx="58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825" b="0">
                      <a:solidFill>
                        <a:srgbClr val="000000"/>
                      </a:solidFill>
                    </a:rPr>
                    <a:t>Satisfy 80% of </a:t>
                  </a:r>
                </a:p>
              </p:txBody>
            </p:sp>
            <p:sp>
              <p:nvSpPr>
                <p:cNvPr id="14" name="Rectangle 9"/>
                <p:cNvSpPr>
                  <a:spLocks noChangeArrowheads="1"/>
                </p:cNvSpPr>
                <p:nvPr/>
              </p:nvSpPr>
              <p:spPr bwMode="auto">
                <a:xfrm>
                  <a:off x="1223" y="3399"/>
                  <a:ext cx="52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825" b="0">
                      <a:solidFill>
                        <a:srgbClr val="000000"/>
                      </a:solidFill>
                    </a:rPr>
                    <a:t>the local end-</a:t>
                  </a:r>
                </a:p>
              </p:txBody>
            </p:sp>
            <p:sp>
              <p:nvSpPr>
                <p:cNvPr id="15" name="Rectangle 10"/>
                <p:cNvSpPr>
                  <a:spLocks noChangeArrowheads="1"/>
                </p:cNvSpPr>
                <p:nvPr/>
              </p:nvSpPr>
              <p:spPr bwMode="auto">
                <a:xfrm>
                  <a:off x="1223" y="3537"/>
                  <a:ext cx="592"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825" b="0">
                      <a:solidFill>
                        <a:srgbClr val="000000"/>
                      </a:solidFill>
                    </a:rPr>
                    <a:t>users’ requests</a:t>
                  </a:r>
                </a:p>
              </p:txBody>
            </p:sp>
            <p:grpSp>
              <p:nvGrpSpPr>
                <p:cNvPr id="16" name="Group 11"/>
                <p:cNvGrpSpPr>
                  <a:grpSpLocks/>
                </p:cNvGrpSpPr>
                <p:nvPr/>
              </p:nvGrpSpPr>
              <p:grpSpPr bwMode="auto">
                <a:xfrm>
                  <a:off x="1044" y="1706"/>
                  <a:ext cx="971" cy="981"/>
                  <a:chOff x="1540" y="1883"/>
                  <a:chExt cx="685" cy="596"/>
                </a:xfrm>
              </p:grpSpPr>
              <p:sp>
                <p:nvSpPr>
                  <p:cNvPr id="220" name="Freeform 12"/>
                  <p:cNvSpPr>
                    <a:spLocks/>
                  </p:cNvSpPr>
                  <p:nvPr/>
                </p:nvSpPr>
                <p:spPr bwMode="auto">
                  <a:xfrm>
                    <a:off x="1540" y="1883"/>
                    <a:ext cx="685" cy="596"/>
                  </a:xfrm>
                  <a:custGeom>
                    <a:avLst/>
                    <a:gdLst>
                      <a:gd name="T0" fmla="*/ 57 w 114"/>
                      <a:gd name="T1" fmla="*/ 0 h 99"/>
                      <a:gd name="T2" fmla="*/ 0 w 114"/>
                      <a:gd name="T3" fmla="*/ 16 h 99"/>
                      <a:gd name="T4" fmla="*/ 0 w 114"/>
                      <a:gd name="T5" fmla="*/ 83 h 99"/>
                      <a:gd name="T6" fmla="*/ 57 w 114"/>
                      <a:gd name="T7" fmla="*/ 99 h 99"/>
                      <a:gd name="T8" fmla="*/ 114 w 114"/>
                      <a:gd name="T9" fmla="*/ 83 h 99"/>
                      <a:gd name="T10" fmla="*/ 114 w 114"/>
                      <a:gd name="T11" fmla="*/ 16 h 99"/>
                      <a:gd name="T12" fmla="*/ 57 w 114"/>
                      <a:gd name="T13" fmla="*/ 0 h 99"/>
                      <a:gd name="T14" fmla="*/ 0 60000 65536"/>
                      <a:gd name="T15" fmla="*/ 0 60000 65536"/>
                      <a:gd name="T16" fmla="*/ 0 60000 65536"/>
                      <a:gd name="T17" fmla="*/ 0 60000 65536"/>
                      <a:gd name="T18" fmla="*/ 0 60000 65536"/>
                      <a:gd name="T19" fmla="*/ 0 60000 65536"/>
                      <a:gd name="T20" fmla="*/ 0 60000 65536"/>
                      <a:gd name="T21" fmla="*/ 0 w 114"/>
                      <a:gd name="T22" fmla="*/ 0 h 99"/>
                      <a:gd name="T23" fmla="*/ 114 w 114"/>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4" h="99">
                        <a:moveTo>
                          <a:pt x="57" y="0"/>
                        </a:moveTo>
                        <a:cubicBezTo>
                          <a:pt x="25" y="0"/>
                          <a:pt x="0" y="7"/>
                          <a:pt x="0" y="16"/>
                        </a:cubicBezTo>
                        <a:lnTo>
                          <a:pt x="0" y="83"/>
                        </a:lnTo>
                        <a:cubicBezTo>
                          <a:pt x="0" y="92"/>
                          <a:pt x="25" y="99"/>
                          <a:pt x="57" y="99"/>
                        </a:cubicBezTo>
                        <a:cubicBezTo>
                          <a:pt x="89" y="99"/>
                          <a:pt x="114" y="92"/>
                          <a:pt x="114" y="83"/>
                        </a:cubicBezTo>
                        <a:lnTo>
                          <a:pt x="114" y="16"/>
                        </a:lnTo>
                        <a:cubicBezTo>
                          <a:pt x="114" y="7"/>
                          <a:pt x="89" y="0"/>
                          <a:pt x="57" y="0"/>
                        </a:cubicBezTo>
                        <a:close/>
                      </a:path>
                    </a:pathLst>
                  </a:custGeom>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defRPr/>
                    </a:pPr>
                    <a:endParaRPr lang="en-US" sz="1350"/>
                  </a:p>
                </p:txBody>
              </p:sp>
              <p:sp>
                <p:nvSpPr>
                  <p:cNvPr id="221" name="Freeform 13"/>
                  <p:cNvSpPr>
                    <a:spLocks/>
                  </p:cNvSpPr>
                  <p:nvPr/>
                </p:nvSpPr>
                <p:spPr bwMode="auto">
                  <a:xfrm>
                    <a:off x="1540" y="1980"/>
                    <a:ext cx="685" cy="90"/>
                  </a:xfrm>
                  <a:custGeom>
                    <a:avLst/>
                    <a:gdLst>
                      <a:gd name="T0" fmla="*/ 0 w 114"/>
                      <a:gd name="T1" fmla="*/ 0 h 15"/>
                      <a:gd name="T2" fmla="*/ 57 w 114"/>
                      <a:gd name="T3" fmla="*/ 15 h 15"/>
                      <a:gd name="T4" fmla="*/ 114 w 114"/>
                      <a:gd name="T5" fmla="*/ 0 h 15"/>
                      <a:gd name="T6" fmla="*/ 0 60000 65536"/>
                      <a:gd name="T7" fmla="*/ 0 60000 65536"/>
                      <a:gd name="T8" fmla="*/ 0 60000 65536"/>
                      <a:gd name="T9" fmla="*/ 0 w 114"/>
                      <a:gd name="T10" fmla="*/ 0 h 15"/>
                      <a:gd name="T11" fmla="*/ 114 w 114"/>
                      <a:gd name="T12" fmla="*/ 15 h 15"/>
                    </a:gdLst>
                    <a:ahLst/>
                    <a:cxnLst>
                      <a:cxn ang="T6">
                        <a:pos x="T0" y="T1"/>
                      </a:cxn>
                      <a:cxn ang="T7">
                        <a:pos x="T2" y="T3"/>
                      </a:cxn>
                      <a:cxn ang="T8">
                        <a:pos x="T4" y="T5"/>
                      </a:cxn>
                    </a:cxnLst>
                    <a:rect l="T9" t="T10" r="T11" b="T12"/>
                    <a:pathLst>
                      <a:path w="114" h="15">
                        <a:moveTo>
                          <a:pt x="0" y="0"/>
                        </a:moveTo>
                        <a:cubicBezTo>
                          <a:pt x="0" y="8"/>
                          <a:pt x="25" y="15"/>
                          <a:pt x="57" y="15"/>
                        </a:cubicBezTo>
                        <a:cubicBezTo>
                          <a:pt x="89" y="15"/>
                          <a:pt x="114" y="8"/>
                          <a:pt x="114" y="0"/>
                        </a:cubicBezTo>
                      </a:path>
                    </a:pathLst>
                  </a:custGeom>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defRPr/>
                    </a:pPr>
                    <a:endParaRPr lang="en-US" sz="1350"/>
                  </a:p>
                </p:txBody>
              </p:sp>
            </p:grpSp>
            <p:grpSp>
              <p:nvGrpSpPr>
                <p:cNvPr id="17" name="Group 14"/>
                <p:cNvGrpSpPr>
                  <a:grpSpLocks/>
                </p:cNvGrpSpPr>
                <p:nvPr/>
              </p:nvGrpSpPr>
              <p:grpSpPr bwMode="auto">
                <a:xfrm>
                  <a:off x="4322" y="1006"/>
                  <a:ext cx="297" cy="316"/>
                  <a:chOff x="3853" y="1457"/>
                  <a:chExt cx="210" cy="192"/>
                </a:xfrm>
              </p:grpSpPr>
              <p:sp>
                <p:nvSpPr>
                  <p:cNvPr id="212" name="Freeform 15"/>
                  <p:cNvSpPr>
                    <a:spLocks/>
                  </p:cNvSpPr>
                  <p:nvPr/>
                </p:nvSpPr>
                <p:spPr bwMode="auto">
                  <a:xfrm>
                    <a:off x="3982" y="1462"/>
                    <a:ext cx="43" cy="38"/>
                  </a:xfrm>
                  <a:custGeom>
                    <a:avLst/>
                    <a:gdLst>
                      <a:gd name="T0" fmla="*/ 0 w 217"/>
                      <a:gd name="T1" fmla="*/ 0 h 190"/>
                      <a:gd name="T2" fmla="*/ 0 w 217"/>
                      <a:gd name="T3" fmla="*/ 0 h 190"/>
                      <a:gd name="T4" fmla="*/ 0 w 217"/>
                      <a:gd name="T5" fmla="*/ 0 h 190"/>
                      <a:gd name="T6" fmla="*/ 0 w 217"/>
                      <a:gd name="T7" fmla="*/ 0 h 190"/>
                      <a:gd name="T8" fmla="*/ 0 w 217"/>
                      <a:gd name="T9" fmla="*/ 0 h 190"/>
                      <a:gd name="T10" fmla="*/ 0 w 217"/>
                      <a:gd name="T11" fmla="*/ 0 h 190"/>
                      <a:gd name="T12" fmla="*/ 0 w 217"/>
                      <a:gd name="T13" fmla="*/ 0 h 190"/>
                      <a:gd name="T14" fmla="*/ 0 w 217"/>
                      <a:gd name="T15" fmla="*/ 0 h 190"/>
                      <a:gd name="T16" fmla="*/ 0 w 217"/>
                      <a:gd name="T17" fmla="*/ 0 h 190"/>
                      <a:gd name="T18" fmla="*/ 0 w 217"/>
                      <a:gd name="T19" fmla="*/ 0 h 190"/>
                      <a:gd name="T20" fmla="*/ 0 w 217"/>
                      <a:gd name="T21" fmla="*/ 0 h 190"/>
                      <a:gd name="T22" fmla="*/ 0 w 217"/>
                      <a:gd name="T23" fmla="*/ 0 h 190"/>
                      <a:gd name="T24" fmla="*/ 0 w 217"/>
                      <a:gd name="T25" fmla="*/ 0 h 190"/>
                      <a:gd name="T26" fmla="*/ 0 w 217"/>
                      <a:gd name="T27" fmla="*/ 0 h 190"/>
                      <a:gd name="T28" fmla="*/ 0 w 217"/>
                      <a:gd name="T29" fmla="*/ 0 h 190"/>
                      <a:gd name="T30" fmla="*/ 0 w 217"/>
                      <a:gd name="T31" fmla="*/ 0 h 190"/>
                      <a:gd name="T32" fmla="*/ 0 w 217"/>
                      <a:gd name="T33" fmla="*/ 0 h 190"/>
                      <a:gd name="T34" fmla="*/ 0 w 217"/>
                      <a:gd name="T35" fmla="*/ 0 h 190"/>
                      <a:gd name="T36" fmla="*/ 0 w 217"/>
                      <a:gd name="T37" fmla="*/ 0 h 190"/>
                      <a:gd name="T38" fmla="*/ 0 w 217"/>
                      <a:gd name="T39" fmla="*/ 0 h 190"/>
                      <a:gd name="T40" fmla="*/ 0 w 217"/>
                      <a:gd name="T41" fmla="*/ 0 h 190"/>
                      <a:gd name="T42" fmla="*/ 0 w 217"/>
                      <a:gd name="T43" fmla="*/ 0 h 190"/>
                      <a:gd name="T44" fmla="*/ 0 w 217"/>
                      <a:gd name="T45" fmla="*/ 0 h 190"/>
                      <a:gd name="T46" fmla="*/ 0 w 217"/>
                      <a:gd name="T47" fmla="*/ 0 h 190"/>
                      <a:gd name="T48" fmla="*/ 0 w 217"/>
                      <a:gd name="T49" fmla="*/ 0 h 190"/>
                      <a:gd name="T50" fmla="*/ 0 w 217"/>
                      <a:gd name="T51" fmla="*/ 0 h 190"/>
                      <a:gd name="T52" fmla="*/ 0 w 217"/>
                      <a:gd name="T53" fmla="*/ 0 h 190"/>
                      <a:gd name="T54" fmla="*/ 0 w 217"/>
                      <a:gd name="T55" fmla="*/ 0 h 190"/>
                      <a:gd name="T56" fmla="*/ 0 w 217"/>
                      <a:gd name="T57" fmla="*/ 0 h 190"/>
                      <a:gd name="T58" fmla="*/ 0 w 217"/>
                      <a:gd name="T59" fmla="*/ 0 h 190"/>
                      <a:gd name="T60" fmla="*/ 0 w 217"/>
                      <a:gd name="T61" fmla="*/ 0 h 190"/>
                      <a:gd name="T62" fmla="*/ 0 w 217"/>
                      <a:gd name="T63" fmla="*/ 0 h 190"/>
                      <a:gd name="T64" fmla="*/ 0 w 217"/>
                      <a:gd name="T65" fmla="*/ 0 h 190"/>
                      <a:gd name="T66" fmla="*/ 0 w 217"/>
                      <a:gd name="T67" fmla="*/ 0 h 19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7"/>
                      <a:gd name="T103" fmla="*/ 0 h 190"/>
                      <a:gd name="T104" fmla="*/ 217 w 217"/>
                      <a:gd name="T105" fmla="*/ 190 h 19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7" h="190">
                        <a:moveTo>
                          <a:pt x="27" y="96"/>
                        </a:moveTo>
                        <a:lnTo>
                          <a:pt x="29" y="115"/>
                        </a:lnTo>
                        <a:lnTo>
                          <a:pt x="34" y="133"/>
                        </a:lnTo>
                        <a:lnTo>
                          <a:pt x="43" y="148"/>
                        </a:lnTo>
                        <a:lnTo>
                          <a:pt x="55" y="163"/>
                        </a:lnTo>
                        <a:lnTo>
                          <a:pt x="69" y="175"/>
                        </a:lnTo>
                        <a:lnTo>
                          <a:pt x="85" y="183"/>
                        </a:lnTo>
                        <a:lnTo>
                          <a:pt x="103" y="188"/>
                        </a:lnTo>
                        <a:lnTo>
                          <a:pt x="122" y="190"/>
                        </a:lnTo>
                        <a:lnTo>
                          <a:pt x="141" y="188"/>
                        </a:lnTo>
                        <a:lnTo>
                          <a:pt x="159" y="183"/>
                        </a:lnTo>
                        <a:lnTo>
                          <a:pt x="175" y="175"/>
                        </a:lnTo>
                        <a:lnTo>
                          <a:pt x="190" y="163"/>
                        </a:lnTo>
                        <a:lnTo>
                          <a:pt x="201" y="148"/>
                        </a:lnTo>
                        <a:lnTo>
                          <a:pt x="210" y="133"/>
                        </a:lnTo>
                        <a:lnTo>
                          <a:pt x="215" y="115"/>
                        </a:lnTo>
                        <a:lnTo>
                          <a:pt x="217" y="96"/>
                        </a:lnTo>
                        <a:lnTo>
                          <a:pt x="215" y="77"/>
                        </a:lnTo>
                        <a:lnTo>
                          <a:pt x="210" y="59"/>
                        </a:lnTo>
                        <a:lnTo>
                          <a:pt x="201" y="42"/>
                        </a:lnTo>
                        <a:lnTo>
                          <a:pt x="190" y="29"/>
                        </a:lnTo>
                        <a:lnTo>
                          <a:pt x="175" y="17"/>
                        </a:lnTo>
                        <a:lnTo>
                          <a:pt x="159" y="7"/>
                        </a:lnTo>
                        <a:lnTo>
                          <a:pt x="141" y="2"/>
                        </a:lnTo>
                        <a:lnTo>
                          <a:pt x="122" y="0"/>
                        </a:lnTo>
                        <a:lnTo>
                          <a:pt x="94" y="3"/>
                        </a:lnTo>
                        <a:lnTo>
                          <a:pt x="69" y="13"/>
                        </a:lnTo>
                        <a:lnTo>
                          <a:pt x="48" y="26"/>
                        </a:lnTo>
                        <a:lnTo>
                          <a:pt x="31" y="42"/>
                        </a:lnTo>
                        <a:lnTo>
                          <a:pt x="17" y="58"/>
                        </a:lnTo>
                        <a:lnTo>
                          <a:pt x="8" y="71"/>
                        </a:lnTo>
                        <a:lnTo>
                          <a:pt x="2" y="81"/>
                        </a:lnTo>
                        <a:lnTo>
                          <a:pt x="0" y="84"/>
                        </a:lnTo>
                        <a:lnTo>
                          <a:pt x="27"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3" name="Freeform 16"/>
                  <p:cNvSpPr>
                    <a:spLocks/>
                  </p:cNvSpPr>
                  <p:nvPr/>
                </p:nvSpPr>
                <p:spPr bwMode="auto">
                  <a:xfrm>
                    <a:off x="3953" y="1490"/>
                    <a:ext cx="99" cy="159"/>
                  </a:xfrm>
                  <a:custGeom>
                    <a:avLst/>
                    <a:gdLst>
                      <a:gd name="T0" fmla="*/ 0 w 497"/>
                      <a:gd name="T1" fmla="*/ 0 h 793"/>
                      <a:gd name="T2" fmla="*/ 0 w 497"/>
                      <a:gd name="T3" fmla="*/ 0 h 793"/>
                      <a:gd name="T4" fmla="*/ 0 w 497"/>
                      <a:gd name="T5" fmla="*/ 0 h 793"/>
                      <a:gd name="T6" fmla="*/ 0 w 497"/>
                      <a:gd name="T7" fmla="*/ 0 h 793"/>
                      <a:gd name="T8" fmla="*/ 0 w 497"/>
                      <a:gd name="T9" fmla="*/ 0 h 793"/>
                      <a:gd name="T10" fmla="*/ 0 w 497"/>
                      <a:gd name="T11" fmla="*/ 0 h 793"/>
                      <a:gd name="T12" fmla="*/ 0 w 497"/>
                      <a:gd name="T13" fmla="*/ 0 h 793"/>
                      <a:gd name="T14" fmla="*/ 0 w 497"/>
                      <a:gd name="T15" fmla="*/ 0 h 793"/>
                      <a:gd name="T16" fmla="*/ 0 w 497"/>
                      <a:gd name="T17" fmla="*/ 0 h 793"/>
                      <a:gd name="T18" fmla="*/ 0 w 497"/>
                      <a:gd name="T19" fmla="*/ 0 h 793"/>
                      <a:gd name="T20" fmla="*/ 0 w 497"/>
                      <a:gd name="T21" fmla="*/ 0 h 793"/>
                      <a:gd name="T22" fmla="*/ 0 w 497"/>
                      <a:gd name="T23" fmla="*/ 0 h 793"/>
                      <a:gd name="T24" fmla="*/ 0 w 497"/>
                      <a:gd name="T25" fmla="*/ 0 h 793"/>
                      <a:gd name="T26" fmla="*/ 0 w 497"/>
                      <a:gd name="T27" fmla="*/ 0 h 793"/>
                      <a:gd name="T28" fmla="*/ 0 w 497"/>
                      <a:gd name="T29" fmla="*/ 0 h 793"/>
                      <a:gd name="T30" fmla="*/ 0 w 497"/>
                      <a:gd name="T31" fmla="*/ 0 h 793"/>
                      <a:gd name="T32" fmla="*/ 0 w 497"/>
                      <a:gd name="T33" fmla="*/ 0 h 793"/>
                      <a:gd name="T34" fmla="*/ 0 w 497"/>
                      <a:gd name="T35" fmla="*/ 0 h 793"/>
                      <a:gd name="T36" fmla="*/ 0 w 497"/>
                      <a:gd name="T37" fmla="*/ 0 h 793"/>
                      <a:gd name="T38" fmla="*/ 0 w 497"/>
                      <a:gd name="T39" fmla="*/ 0 h 793"/>
                      <a:gd name="T40" fmla="*/ 0 w 497"/>
                      <a:gd name="T41" fmla="*/ 0 h 793"/>
                      <a:gd name="T42" fmla="*/ 0 w 497"/>
                      <a:gd name="T43" fmla="*/ 0 h 793"/>
                      <a:gd name="T44" fmla="*/ 0 w 497"/>
                      <a:gd name="T45" fmla="*/ 0 h 793"/>
                      <a:gd name="T46" fmla="*/ 0 w 497"/>
                      <a:gd name="T47" fmla="*/ 0 h 793"/>
                      <a:gd name="T48" fmla="*/ 0 w 497"/>
                      <a:gd name="T49" fmla="*/ 0 h 793"/>
                      <a:gd name="T50" fmla="*/ 0 w 497"/>
                      <a:gd name="T51" fmla="*/ 0 h 793"/>
                      <a:gd name="T52" fmla="*/ 0 w 497"/>
                      <a:gd name="T53" fmla="*/ 0 h 793"/>
                      <a:gd name="T54" fmla="*/ 0 w 497"/>
                      <a:gd name="T55" fmla="*/ 0 h 793"/>
                      <a:gd name="T56" fmla="*/ 0 w 497"/>
                      <a:gd name="T57" fmla="*/ 0 h 793"/>
                      <a:gd name="T58" fmla="*/ 0 w 497"/>
                      <a:gd name="T59" fmla="*/ 0 h 793"/>
                      <a:gd name="T60" fmla="*/ 0 w 497"/>
                      <a:gd name="T61" fmla="*/ 0 h 793"/>
                      <a:gd name="T62" fmla="*/ 0 w 497"/>
                      <a:gd name="T63" fmla="*/ 0 h 793"/>
                      <a:gd name="T64" fmla="*/ 0 w 497"/>
                      <a:gd name="T65" fmla="*/ 0 h 793"/>
                      <a:gd name="T66" fmla="*/ 0 w 497"/>
                      <a:gd name="T67" fmla="*/ 0 h 793"/>
                      <a:gd name="T68" fmla="*/ 0 w 497"/>
                      <a:gd name="T69" fmla="*/ 0 h 793"/>
                      <a:gd name="T70" fmla="*/ 0 w 497"/>
                      <a:gd name="T71" fmla="*/ 0 h 793"/>
                      <a:gd name="T72" fmla="*/ 0 w 497"/>
                      <a:gd name="T73" fmla="*/ 0 h 793"/>
                      <a:gd name="T74" fmla="*/ 0 w 497"/>
                      <a:gd name="T75" fmla="*/ 0 h 793"/>
                      <a:gd name="T76" fmla="*/ 0 w 497"/>
                      <a:gd name="T77" fmla="*/ 0 h 793"/>
                      <a:gd name="T78" fmla="*/ 0 w 497"/>
                      <a:gd name="T79" fmla="*/ 0 h 793"/>
                      <a:gd name="T80" fmla="*/ 0 w 497"/>
                      <a:gd name="T81" fmla="*/ 0 h 793"/>
                      <a:gd name="T82" fmla="*/ 0 w 497"/>
                      <a:gd name="T83" fmla="*/ 0 h 793"/>
                      <a:gd name="T84" fmla="*/ 0 w 497"/>
                      <a:gd name="T85" fmla="*/ 0 h 793"/>
                      <a:gd name="T86" fmla="*/ 0 w 497"/>
                      <a:gd name="T87" fmla="*/ 0 h 793"/>
                      <a:gd name="T88" fmla="*/ 0 w 497"/>
                      <a:gd name="T89" fmla="*/ 0 h 793"/>
                      <a:gd name="T90" fmla="*/ 0 w 497"/>
                      <a:gd name="T91" fmla="*/ 0 h 793"/>
                      <a:gd name="T92" fmla="*/ 0 w 497"/>
                      <a:gd name="T93" fmla="*/ 0 h 793"/>
                      <a:gd name="T94" fmla="*/ 0 w 497"/>
                      <a:gd name="T95" fmla="*/ 0 h 79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7"/>
                      <a:gd name="T145" fmla="*/ 0 h 793"/>
                      <a:gd name="T146" fmla="*/ 497 w 497"/>
                      <a:gd name="T147" fmla="*/ 793 h 79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7" h="793">
                        <a:moveTo>
                          <a:pt x="473" y="542"/>
                        </a:moveTo>
                        <a:lnTo>
                          <a:pt x="475" y="531"/>
                        </a:lnTo>
                        <a:lnTo>
                          <a:pt x="480" y="504"/>
                        </a:lnTo>
                        <a:lnTo>
                          <a:pt x="485" y="462"/>
                        </a:lnTo>
                        <a:lnTo>
                          <a:pt x="491" y="411"/>
                        </a:lnTo>
                        <a:lnTo>
                          <a:pt x="495" y="353"/>
                        </a:lnTo>
                        <a:lnTo>
                          <a:pt x="497" y="295"/>
                        </a:lnTo>
                        <a:lnTo>
                          <a:pt x="495" y="238"/>
                        </a:lnTo>
                        <a:lnTo>
                          <a:pt x="488" y="187"/>
                        </a:lnTo>
                        <a:lnTo>
                          <a:pt x="475" y="144"/>
                        </a:lnTo>
                        <a:lnTo>
                          <a:pt x="460" y="106"/>
                        </a:lnTo>
                        <a:lnTo>
                          <a:pt x="441" y="74"/>
                        </a:lnTo>
                        <a:lnTo>
                          <a:pt x="422" y="48"/>
                        </a:lnTo>
                        <a:lnTo>
                          <a:pt x="404" y="28"/>
                        </a:lnTo>
                        <a:lnTo>
                          <a:pt x="388" y="13"/>
                        </a:lnTo>
                        <a:lnTo>
                          <a:pt x="379" y="4"/>
                        </a:lnTo>
                        <a:lnTo>
                          <a:pt x="374" y="1"/>
                        </a:lnTo>
                        <a:lnTo>
                          <a:pt x="373" y="0"/>
                        </a:lnTo>
                        <a:lnTo>
                          <a:pt x="365" y="15"/>
                        </a:lnTo>
                        <a:lnTo>
                          <a:pt x="356" y="29"/>
                        </a:lnTo>
                        <a:lnTo>
                          <a:pt x="344" y="40"/>
                        </a:lnTo>
                        <a:lnTo>
                          <a:pt x="331" y="51"/>
                        </a:lnTo>
                        <a:lnTo>
                          <a:pt x="317" y="58"/>
                        </a:lnTo>
                        <a:lnTo>
                          <a:pt x="301" y="64"/>
                        </a:lnTo>
                        <a:lnTo>
                          <a:pt x="285" y="69"/>
                        </a:lnTo>
                        <a:lnTo>
                          <a:pt x="267" y="70"/>
                        </a:lnTo>
                        <a:lnTo>
                          <a:pt x="266" y="70"/>
                        </a:lnTo>
                        <a:lnTo>
                          <a:pt x="265" y="70"/>
                        </a:lnTo>
                        <a:lnTo>
                          <a:pt x="239" y="103"/>
                        </a:lnTo>
                        <a:lnTo>
                          <a:pt x="239" y="106"/>
                        </a:lnTo>
                        <a:lnTo>
                          <a:pt x="240" y="116"/>
                        </a:lnTo>
                        <a:lnTo>
                          <a:pt x="241" y="128"/>
                        </a:lnTo>
                        <a:lnTo>
                          <a:pt x="239" y="144"/>
                        </a:lnTo>
                        <a:lnTo>
                          <a:pt x="235" y="161"/>
                        </a:lnTo>
                        <a:lnTo>
                          <a:pt x="227" y="177"/>
                        </a:lnTo>
                        <a:lnTo>
                          <a:pt x="215" y="191"/>
                        </a:lnTo>
                        <a:lnTo>
                          <a:pt x="197" y="200"/>
                        </a:lnTo>
                        <a:lnTo>
                          <a:pt x="176" y="207"/>
                        </a:lnTo>
                        <a:lnTo>
                          <a:pt x="154" y="213"/>
                        </a:lnTo>
                        <a:lnTo>
                          <a:pt x="133" y="217"/>
                        </a:lnTo>
                        <a:lnTo>
                          <a:pt x="114" y="221"/>
                        </a:lnTo>
                        <a:lnTo>
                          <a:pt x="97" y="223"/>
                        </a:lnTo>
                        <a:lnTo>
                          <a:pt x="84" y="225"/>
                        </a:lnTo>
                        <a:lnTo>
                          <a:pt x="76" y="226"/>
                        </a:lnTo>
                        <a:lnTo>
                          <a:pt x="73" y="226"/>
                        </a:lnTo>
                        <a:lnTo>
                          <a:pt x="73" y="341"/>
                        </a:lnTo>
                        <a:lnTo>
                          <a:pt x="74" y="341"/>
                        </a:lnTo>
                        <a:lnTo>
                          <a:pt x="77" y="342"/>
                        </a:lnTo>
                        <a:lnTo>
                          <a:pt x="83" y="342"/>
                        </a:lnTo>
                        <a:lnTo>
                          <a:pt x="91" y="343"/>
                        </a:lnTo>
                        <a:lnTo>
                          <a:pt x="101" y="344"/>
                        </a:lnTo>
                        <a:lnTo>
                          <a:pt x="113" y="344"/>
                        </a:lnTo>
                        <a:lnTo>
                          <a:pt x="127" y="344"/>
                        </a:lnTo>
                        <a:lnTo>
                          <a:pt x="144" y="343"/>
                        </a:lnTo>
                        <a:lnTo>
                          <a:pt x="163" y="341"/>
                        </a:lnTo>
                        <a:lnTo>
                          <a:pt x="180" y="339"/>
                        </a:lnTo>
                        <a:lnTo>
                          <a:pt x="193" y="337"/>
                        </a:lnTo>
                        <a:lnTo>
                          <a:pt x="204" y="334"/>
                        </a:lnTo>
                        <a:lnTo>
                          <a:pt x="212" y="331"/>
                        </a:lnTo>
                        <a:lnTo>
                          <a:pt x="218" y="330"/>
                        </a:lnTo>
                        <a:lnTo>
                          <a:pt x="221" y="328"/>
                        </a:lnTo>
                        <a:lnTo>
                          <a:pt x="222" y="328"/>
                        </a:lnTo>
                        <a:lnTo>
                          <a:pt x="209" y="399"/>
                        </a:lnTo>
                        <a:lnTo>
                          <a:pt x="204" y="400"/>
                        </a:lnTo>
                        <a:lnTo>
                          <a:pt x="192" y="404"/>
                        </a:lnTo>
                        <a:lnTo>
                          <a:pt x="173" y="410"/>
                        </a:lnTo>
                        <a:lnTo>
                          <a:pt x="150" y="419"/>
                        </a:lnTo>
                        <a:lnTo>
                          <a:pt x="123" y="429"/>
                        </a:lnTo>
                        <a:lnTo>
                          <a:pt x="98" y="441"/>
                        </a:lnTo>
                        <a:lnTo>
                          <a:pt x="74" y="454"/>
                        </a:lnTo>
                        <a:lnTo>
                          <a:pt x="54" y="469"/>
                        </a:lnTo>
                        <a:lnTo>
                          <a:pt x="21" y="510"/>
                        </a:lnTo>
                        <a:lnTo>
                          <a:pt x="7" y="557"/>
                        </a:lnTo>
                        <a:lnTo>
                          <a:pt x="5" y="607"/>
                        </a:lnTo>
                        <a:lnTo>
                          <a:pt x="11" y="655"/>
                        </a:lnTo>
                        <a:lnTo>
                          <a:pt x="23" y="698"/>
                        </a:lnTo>
                        <a:lnTo>
                          <a:pt x="37" y="734"/>
                        </a:lnTo>
                        <a:lnTo>
                          <a:pt x="49" y="758"/>
                        </a:lnTo>
                        <a:lnTo>
                          <a:pt x="53" y="767"/>
                        </a:lnTo>
                        <a:lnTo>
                          <a:pt x="0" y="793"/>
                        </a:lnTo>
                        <a:lnTo>
                          <a:pt x="229" y="793"/>
                        </a:lnTo>
                        <a:lnTo>
                          <a:pt x="227" y="790"/>
                        </a:lnTo>
                        <a:lnTo>
                          <a:pt x="223" y="781"/>
                        </a:lnTo>
                        <a:lnTo>
                          <a:pt x="216" y="768"/>
                        </a:lnTo>
                        <a:lnTo>
                          <a:pt x="208" y="751"/>
                        </a:lnTo>
                        <a:lnTo>
                          <a:pt x="199" y="730"/>
                        </a:lnTo>
                        <a:lnTo>
                          <a:pt x="191" y="707"/>
                        </a:lnTo>
                        <a:lnTo>
                          <a:pt x="183" y="682"/>
                        </a:lnTo>
                        <a:lnTo>
                          <a:pt x="177" y="655"/>
                        </a:lnTo>
                        <a:lnTo>
                          <a:pt x="174" y="608"/>
                        </a:lnTo>
                        <a:lnTo>
                          <a:pt x="179" y="572"/>
                        </a:lnTo>
                        <a:lnTo>
                          <a:pt x="186" y="549"/>
                        </a:lnTo>
                        <a:lnTo>
                          <a:pt x="191" y="542"/>
                        </a:lnTo>
                        <a:lnTo>
                          <a:pt x="473" y="5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4" name="Freeform 17"/>
                  <p:cNvSpPr>
                    <a:spLocks/>
                  </p:cNvSpPr>
                  <p:nvPr/>
                </p:nvSpPr>
                <p:spPr bwMode="auto">
                  <a:xfrm>
                    <a:off x="3945" y="1532"/>
                    <a:ext cx="19" cy="19"/>
                  </a:xfrm>
                  <a:custGeom>
                    <a:avLst/>
                    <a:gdLst>
                      <a:gd name="T0" fmla="*/ 0 w 92"/>
                      <a:gd name="T1" fmla="*/ 0 h 96"/>
                      <a:gd name="T2" fmla="*/ 0 w 92"/>
                      <a:gd name="T3" fmla="*/ 0 h 96"/>
                      <a:gd name="T4" fmla="*/ 0 w 92"/>
                      <a:gd name="T5" fmla="*/ 0 h 96"/>
                      <a:gd name="T6" fmla="*/ 0 w 92"/>
                      <a:gd name="T7" fmla="*/ 0 h 96"/>
                      <a:gd name="T8" fmla="*/ 0 w 92"/>
                      <a:gd name="T9" fmla="*/ 0 h 96"/>
                      <a:gd name="T10" fmla="*/ 0 w 92"/>
                      <a:gd name="T11" fmla="*/ 0 h 96"/>
                      <a:gd name="T12" fmla="*/ 0 w 92"/>
                      <a:gd name="T13" fmla="*/ 0 h 96"/>
                      <a:gd name="T14" fmla="*/ 0 w 92"/>
                      <a:gd name="T15" fmla="*/ 0 h 96"/>
                      <a:gd name="T16" fmla="*/ 0 w 92"/>
                      <a:gd name="T17" fmla="*/ 0 h 96"/>
                      <a:gd name="T18" fmla="*/ 0 w 92"/>
                      <a:gd name="T19" fmla="*/ 0 h 96"/>
                      <a:gd name="T20" fmla="*/ 0 w 92"/>
                      <a:gd name="T21" fmla="*/ 0 h 96"/>
                      <a:gd name="T22" fmla="*/ 0 w 92"/>
                      <a:gd name="T23" fmla="*/ 0 h 96"/>
                      <a:gd name="T24" fmla="*/ 0 w 92"/>
                      <a:gd name="T25" fmla="*/ 0 h 96"/>
                      <a:gd name="T26" fmla="*/ 0 w 92"/>
                      <a:gd name="T27" fmla="*/ 0 h 96"/>
                      <a:gd name="T28" fmla="*/ 0 w 92"/>
                      <a:gd name="T29" fmla="*/ 0 h 96"/>
                      <a:gd name="T30" fmla="*/ 0 w 92"/>
                      <a:gd name="T31" fmla="*/ 0 h 96"/>
                      <a:gd name="T32" fmla="*/ 0 w 92"/>
                      <a:gd name="T33" fmla="*/ 0 h 96"/>
                      <a:gd name="T34" fmla="*/ 0 w 92"/>
                      <a:gd name="T35" fmla="*/ 0 h 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2"/>
                      <a:gd name="T55" fmla="*/ 0 h 96"/>
                      <a:gd name="T56" fmla="*/ 92 w 92"/>
                      <a:gd name="T57" fmla="*/ 96 h 9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2" h="96">
                        <a:moveTo>
                          <a:pt x="92" y="22"/>
                        </a:moveTo>
                        <a:lnTo>
                          <a:pt x="92" y="96"/>
                        </a:lnTo>
                        <a:lnTo>
                          <a:pt x="91" y="96"/>
                        </a:lnTo>
                        <a:lnTo>
                          <a:pt x="87" y="95"/>
                        </a:lnTo>
                        <a:lnTo>
                          <a:pt x="81" y="94"/>
                        </a:lnTo>
                        <a:lnTo>
                          <a:pt x="74" y="92"/>
                        </a:lnTo>
                        <a:lnTo>
                          <a:pt x="67" y="90"/>
                        </a:lnTo>
                        <a:lnTo>
                          <a:pt x="59" y="88"/>
                        </a:lnTo>
                        <a:lnTo>
                          <a:pt x="52" y="83"/>
                        </a:lnTo>
                        <a:lnTo>
                          <a:pt x="46" y="79"/>
                        </a:lnTo>
                        <a:lnTo>
                          <a:pt x="35" y="69"/>
                        </a:lnTo>
                        <a:lnTo>
                          <a:pt x="28" y="58"/>
                        </a:lnTo>
                        <a:lnTo>
                          <a:pt x="22" y="50"/>
                        </a:lnTo>
                        <a:lnTo>
                          <a:pt x="20" y="47"/>
                        </a:lnTo>
                        <a:lnTo>
                          <a:pt x="6" y="54"/>
                        </a:lnTo>
                        <a:lnTo>
                          <a:pt x="0" y="22"/>
                        </a:lnTo>
                        <a:lnTo>
                          <a:pt x="53" y="0"/>
                        </a:lnTo>
                        <a:lnTo>
                          <a:pt x="92"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5" name="Freeform 18"/>
                  <p:cNvSpPr>
                    <a:spLocks/>
                  </p:cNvSpPr>
                  <p:nvPr/>
                </p:nvSpPr>
                <p:spPr bwMode="auto">
                  <a:xfrm>
                    <a:off x="3907" y="1544"/>
                    <a:ext cx="46" cy="16"/>
                  </a:xfrm>
                  <a:custGeom>
                    <a:avLst/>
                    <a:gdLst>
                      <a:gd name="T0" fmla="*/ 0 w 232"/>
                      <a:gd name="T1" fmla="*/ 0 h 80"/>
                      <a:gd name="T2" fmla="*/ 0 w 232"/>
                      <a:gd name="T3" fmla="*/ 0 h 80"/>
                      <a:gd name="T4" fmla="*/ 0 w 232"/>
                      <a:gd name="T5" fmla="*/ 0 h 80"/>
                      <a:gd name="T6" fmla="*/ 0 w 232"/>
                      <a:gd name="T7" fmla="*/ 0 h 80"/>
                      <a:gd name="T8" fmla="*/ 0 w 232"/>
                      <a:gd name="T9" fmla="*/ 0 h 80"/>
                      <a:gd name="T10" fmla="*/ 0 w 232"/>
                      <a:gd name="T11" fmla="*/ 0 h 80"/>
                      <a:gd name="T12" fmla="*/ 0 w 232"/>
                      <a:gd name="T13" fmla="*/ 0 h 80"/>
                      <a:gd name="T14" fmla="*/ 0 60000 65536"/>
                      <a:gd name="T15" fmla="*/ 0 60000 65536"/>
                      <a:gd name="T16" fmla="*/ 0 60000 65536"/>
                      <a:gd name="T17" fmla="*/ 0 60000 65536"/>
                      <a:gd name="T18" fmla="*/ 0 60000 65536"/>
                      <a:gd name="T19" fmla="*/ 0 60000 65536"/>
                      <a:gd name="T20" fmla="*/ 0 60000 65536"/>
                      <a:gd name="T21" fmla="*/ 0 w 232"/>
                      <a:gd name="T22" fmla="*/ 0 h 80"/>
                      <a:gd name="T23" fmla="*/ 232 w 232"/>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2" h="80">
                        <a:moveTo>
                          <a:pt x="84" y="0"/>
                        </a:moveTo>
                        <a:lnTo>
                          <a:pt x="0" y="0"/>
                        </a:lnTo>
                        <a:lnTo>
                          <a:pt x="0" y="40"/>
                        </a:lnTo>
                        <a:lnTo>
                          <a:pt x="0" y="80"/>
                        </a:lnTo>
                        <a:lnTo>
                          <a:pt x="232" y="80"/>
                        </a:lnTo>
                        <a:lnTo>
                          <a:pt x="232" y="40"/>
                        </a:lnTo>
                        <a:lnTo>
                          <a:pt x="8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6" name="Freeform 19"/>
                  <p:cNvSpPr>
                    <a:spLocks/>
                  </p:cNvSpPr>
                  <p:nvPr/>
                </p:nvSpPr>
                <p:spPr bwMode="auto">
                  <a:xfrm>
                    <a:off x="3853" y="1457"/>
                    <a:ext cx="65" cy="72"/>
                  </a:xfrm>
                  <a:custGeom>
                    <a:avLst/>
                    <a:gdLst>
                      <a:gd name="T0" fmla="*/ 0 w 325"/>
                      <a:gd name="T1" fmla="*/ 0 h 359"/>
                      <a:gd name="T2" fmla="*/ 0 w 325"/>
                      <a:gd name="T3" fmla="*/ 0 h 359"/>
                      <a:gd name="T4" fmla="*/ 0 w 325"/>
                      <a:gd name="T5" fmla="*/ 0 h 359"/>
                      <a:gd name="T6" fmla="*/ 0 w 325"/>
                      <a:gd name="T7" fmla="*/ 0 h 359"/>
                      <a:gd name="T8" fmla="*/ 0 w 325"/>
                      <a:gd name="T9" fmla="*/ 0 h 359"/>
                      <a:gd name="T10" fmla="*/ 0 w 325"/>
                      <a:gd name="T11" fmla="*/ 0 h 359"/>
                      <a:gd name="T12" fmla="*/ 0 w 325"/>
                      <a:gd name="T13" fmla="*/ 0 h 359"/>
                      <a:gd name="T14" fmla="*/ 0 w 325"/>
                      <a:gd name="T15" fmla="*/ 0 h 359"/>
                      <a:gd name="T16" fmla="*/ 0 w 325"/>
                      <a:gd name="T17" fmla="*/ 0 h 3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5"/>
                      <a:gd name="T28" fmla="*/ 0 h 359"/>
                      <a:gd name="T29" fmla="*/ 325 w 325"/>
                      <a:gd name="T30" fmla="*/ 359 h 3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5" h="359">
                        <a:moveTo>
                          <a:pt x="139" y="0"/>
                        </a:moveTo>
                        <a:lnTo>
                          <a:pt x="139" y="36"/>
                        </a:lnTo>
                        <a:lnTo>
                          <a:pt x="0" y="77"/>
                        </a:lnTo>
                        <a:lnTo>
                          <a:pt x="0" y="274"/>
                        </a:lnTo>
                        <a:lnTo>
                          <a:pt x="139" y="316"/>
                        </a:lnTo>
                        <a:lnTo>
                          <a:pt x="139" y="359"/>
                        </a:lnTo>
                        <a:lnTo>
                          <a:pt x="325" y="359"/>
                        </a:lnTo>
                        <a:lnTo>
                          <a:pt x="325" y="0"/>
                        </a:lnTo>
                        <a:lnTo>
                          <a:pt x="1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7" name="Freeform 20"/>
                  <p:cNvSpPr>
                    <a:spLocks/>
                  </p:cNvSpPr>
                  <p:nvPr/>
                </p:nvSpPr>
                <p:spPr bwMode="auto">
                  <a:xfrm>
                    <a:off x="3853" y="1564"/>
                    <a:ext cx="105" cy="85"/>
                  </a:xfrm>
                  <a:custGeom>
                    <a:avLst/>
                    <a:gdLst>
                      <a:gd name="T0" fmla="*/ 0 w 524"/>
                      <a:gd name="T1" fmla="*/ 0 h 427"/>
                      <a:gd name="T2" fmla="*/ 0 w 524"/>
                      <a:gd name="T3" fmla="*/ 0 h 427"/>
                      <a:gd name="T4" fmla="*/ 0 w 524"/>
                      <a:gd name="T5" fmla="*/ 0 h 427"/>
                      <a:gd name="T6" fmla="*/ 0 w 524"/>
                      <a:gd name="T7" fmla="*/ 0 h 427"/>
                      <a:gd name="T8" fmla="*/ 0 w 524"/>
                      <a:gd name="T9" fmla="*/ 0 h 427"/>
                      <a:gd name="T10" fmla="*/ 0 w 524"/>
                      <a:gd name="T11" fmla="*/ 0 h 427"/>
                      <a:gd name="T12" fmla="*/ 0 w 524"/>
                      <a:gd name="T13" fmla="*/ 0 h 427"/>
                      <a:gd name="T14" fmla="*/ 0 w 524"/>
                      <a:gd name="T15" fmla="*/ 0 h 427"/>
                      <a:gd name="T16" fmla="*/ 0 w 524"/>
                      <a:gd name="T17" fmla="*/ 0 h 4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4"/>
                      <a:gd name="T28" fmla="*/ 0 h 427"/>
                      <a:gd name="T29" fmla="*/ 524 w 524"/>
                      <a:gd name="T30" fmla="*/ 427 h 4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4" h="427">
                        <a:moveTo>
                          <a:pt x="524" y="0"/>
                        </a:moveTo>
                        <a:lnTo>
                          <a:pt x="0" y="0"/>
                        </a:lnTo>
                        <a:lnTo>
                          <a:pt x="0" y="33"/>
                        </a:lnTo>
                        <a:lnTo>
                          <a:pt x="0" y="47"/>
                        </a:lnTo>
                        <a:lnTo>
                          <a:pt x="0" y="427"/>
                        </a:lnTo>
                        <a:lnTo>
                          <a:pt x="445" y="427"/>
                        </a:lnTo>
                        <a:lnTo>
                          <a:pt x="445" y="47"/>
                        </a:lnTo>
                        <a:lnTo>
                          <a:pt x="524" y="47"/>
                        </a:lnTo>
                        <a:lnTo>
                          <a:pt x="5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8" name="Rectangle 21"/>
                  <p:cNvSpPr>
                    <a:spLocks noChangeArrowheads="1"/>
                  </p:cNvSpPr>
                  <p:nvPr/>
                </p:nvSpPr>
                <p:spPr bwMode="auto">
                  <a:xfrm>
                    <a:off x="3857" y="1534"/>
                    <a:ext cx="45"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219" name="Freeform 22"/>
                  <p:cNvSpPr>
                    <a:spLocks/>
                  </p:cNvSpPr>
                  <p:nvPr/>
                </p:nvSpPr>
                <p:spPr bwMode="auto">
                  <a:xfrm>
                    <a:off x="3997" y="1518"/>
                    <a:ext cx="66" cy="131"/>
                  </a:xfrm>
                  <a:custGeom>
                    <a:avLst/>
                    <a:gdLst>
                      <a:gd name="T0" fmla="*/ 0 w 328"/>
                      <a:gd name="T1" fmla="*/ 0 h 653"/>
                      <a:gd name="T2" fmla="*/ 0 w 328"/>
                      <a:gd name="T3" fmla="*/ 0 h 653"/>
                      <a:gd name="T4" fmla="*/ 0 w 328"/>
                      <a:gd name="T5" fmla="*/ 0 h 653"/>
                      <a:gd name="T6" fmla="*/ 0 w 328"/>
                      <a:gd name="T7" fmla="*/ 0 h 653"/>
                      <a:gd name="T8" fmla="*/ 0 w 328"/>
                      <a:gd name="T9" fmla="*/ 0 h 653"/>
                      <a:gd name="T10" fmla="*/ 0 w 328"/>
                      <a:gd name="T11" fmla="*/ 0 h 653"/>
                      <a:gd name="T12" fmla="*/ 0 w 328"/>
                      <a:gd name="T13" fmla="*/ 0 h 653"/>
                      <a:gd name="T14" fmla="*/ 0 w 328"/>
                      <a:gd name="T15" fmla="*/ 0 h 653"/>
                      <a:gd name="T16" fmla="*/ 0 w 328"/>
                      <a:gd name="T17" fmla="*/ 0 h 653"/>
                      <a:gd name="T18" fmla="*/ 0 w 328"/>
                      <a:gd name="T19" fmla="*/ 0 h 653"/>
                      <a:gd name="T20" fmla="*/ 0 w 328"/>
                      <a:gd name="T21" fmla="*/ 0 h 653"/>
                      <a:gd name="T22" fmla="*/ 0 w 328"/>
                      <a:gd name="T23" fmla="*/ 0 h 653"/>
                      <a:gd name="T24" fmla="*/ 0 w 328"/>
                      <a:gd name="T25" fmla="*/ 0 h 653"/>
                      <a:gd name="T26" fmla="*/ 0 w 328"/>
                      <a:gd name="T27" fmla="*/ 0 h 653"/>
                      <a:gd name="T28" fmla="*/ 0 w 328"/>
                      <a:gd name="T29" fmla="*/ 0 h 653"/>
                      <a:gd name="T30" fmla="*/ 0 w 328"/>
                      <a:gd name="T31" fmla="*/ 0 h 6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8"/>
                      <a:gd name="T49" fmla="*/ 0 h 653"/>
                      <a:gd name="T50" fmla="*/ 328 w 328"/>
                      <a:gd name="T51" fmla="*/ 653 h 6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8" h="653">
                        <a:moveTo>
                          <a:pt x="291" y="0"/>
                        </a:moveTo>
                        <a:lnTo>
                          <a:pt x="291" y="426"/>
                        </a:lnTo>
                        <a:lnTo>
                          <a:pt x="0" y="426"/>
                        </a:lnTo>
                        <a:lnTo>
                          <a:pt x="0" y="470"/>
                        </a:lnTo>
                        <a:lnTo>
                          <a:pt x="47" y="470"/>
                        </a:lnTo>
                        <a:lnTo>
                          <a:pt x="47" y="653"/>
                        </a:lnTo>
                        <a:lnTo>
                          <a:pt x="84" y="653"/>
                        </a:lnTo>
                        <a:lnTo>
                          <a:pt x="84" y="470"/>
                        </a:lnTo>
                        <a:lnTo>
                          <a:pt x="259" y="470"/>
                        </a:lnTo>
                        <a:lnTo>
                          <a:pt x="259" y="653"/>
                        </a:lnTo>
                        <a:lnTo>
                          <a:pt x="295" y="653"/>
                        </a:lnTo>
                        <a:lnTo>
                          <a:pt x="295" y="470"/>
                        </a:lnTo>
                        <a:lnTo>
                          <a:pt x="328" y="470"/>
                        </a:lnTo>
                        <a:lnTo>
                          <a:pt x="328" y="426"/>
                        </a:lnTo>
                        <a:lnTo>
                          <a:pt x="328" y="0"/>
                        </a:lnTo>
                        <a:lnTo>
                          <a:pt x="2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grpSp>
            <p:grpSp>
              <p:nvGrpSpPr>
                <p:cNvPr id="18" name="Group 23"/>
                <p:cNvGrpSpPr>
                  <a:grpSpLocks/>
                </p:cNvGrpSpPr>
                <p:nvPr/>
              </p:nvGrpSpPr>
              <p:grpSpPr bwMode="auto">
                <a:xfrm>
                  <a:off x="4322" y="2914"/>
                  <a:ext cx="297" cy="315"/>
                  <a:chOff x="3853" y="2617"/>
                  <a:chExt cx="210" cy="192"/>
                </a:xfrm>
              </p:grpSpPr>
              <p:sp>
                <p:nvSpPr>
                  <p:cNvPr id="204" name="Freeform 24"/>
                  <p:cNvSpPr>
                    <a:spLocks/>
                  </p:cNvSpPr>
                  <p:nvPr/>
                </p:nvSpPr>
                <p:spPr bwMode="auto">
                  <a:xfrm>
                    <a:off x="3982" y="2622"/>
                    <a:ext cx="43" cy="38"/>
                  </a:xfrm>
                  <a:custGeom>
                    <a:avLst/>
                    <a:gdLst>
                      <a:gd name="T0" fmla="*/ 0 w 217"/>
                      <a:gd name="T1" fmla="*/ 0 h 190"/>
                      <a:gd name="T2" fmla="*/ 0 w 217"/>
                      <a:gd name="T3" fmla="*/ 0 h 190"/>
                      <a:gd name="T4" fmla="*/ 0 w 217"/>
                      <a:gd name="T5" fmla="*/ 0 h 190"/>
                      <a:gd name="T6" fmla="*/ 0 w 217"/>
                      <a:gd name="T7" fmla="*/ 0 h 190"/>
                      <a:gd name="T8" fmla="*/ 0 w 217"/>
                      <a:gd name="T9" fmla="*/ 0 h 190"/>
                      <a:gd name="T10" fmla="*/ 0 w 217"/>
                      <a:gd name="T11" fmla="*/ 0 h 190"/>
                      <a:gd name="T12" fmla="*/ 0 w 217"/>
                      <a:gd name="T13" fmla="*/ 0 h 190"/>
                      <a:gd name="T14" fmla="*/ 0 w 217"/>
                      <a:gd name="T15" fmla="*/ 0 h 190"/>
                      <a:gd name="T16" fmla="*/ 0 w 217"/>
                      <a:gd name="T17" fmla="*/ 0 h 190"/>
                      <a:gd name="T18" fmla="*/ 0 w 217"/>
                      <a:gd name="T19" fmla="*/ 0 h 190"/>
                      <a:gd name="T20" fmla="*/ 0 w 217"/>
                      <a:gd name="T21" fmla="*/ 0 h 190"/>
                      <a:gd name="T22" fmla="*/ 0 w 217"/>
                      <a:gd name="T23" fmla="*/ 0 h 190"/>
                      <a:gd name="T24" fmla="*/ 0 w 217"/>
                      <a:gd name="T25" fmla="*/ 0 h 190"/>
                      <a:gd name="T26" fmla="*/ 0 w 217"/>
                      <a:gd name="T27" fmla="*/ 0 h 190"/>
                      <a:gd name="T28" fmla="*/ 0 w 217"/>
                      <a:gd name="T29" fmla="*/ 0 h 190"/>
                      <a:gd name="T30" fmla="*/ 0 w 217"/>
                      <a:gd name="T31" fmla="*/ 0 h 190"/>
                      <a:gd name="T32" fmla="*/ 0 w 217"/>
                      <a:gd name="T33" fmla="*/ 0 h 190"/>
                      <a:gd name="T34" fmla="*/ 0 w 217"/>
                      <a:gd name="T35" fmla="*/ 0 h 190"/>
                      <a:gd name="T36" fmla="*/ 0 w 217"/>
                      <a:gd name="T37" fmla="*/ 0 h 190"/>
                      <a:gd name="T38" fmla="*/ 0 w 217"/>
                      <a:gd name="T39" fmla="*/ 0 h 190"/>
                      <a:gd name="T40" fmla="*/ 0 w 217"/>
                      <a:gd name="T41" fmla="*/ 0 h 190"/>
                      <a:gd name="T42" fmla="*/ 0 w 217"/>
                      <a:gd name="T43" fmla="*/ 0 h 190"/>
                      <a:gd name="T44" fmla="*/ 0 w 217"/>
                      <a:gd name="T45" fmla="*/ 0 h 190"/>
                      <a:gd name="T46" fmla="*/ 0 w 217"/>
                      <a:gd name="T47" fmla="*/ 0 h 190"/>
                      <a:gd name="T48" fmla="*/ 0 w 217"/>
                      <a:gd name="T49" fmla="*/ 0 h 190"/>
                      <a:gd name="T50" fmla="*/ 0 w 217"/>
                      <a:gd name="T51" fmla="*/ 0 h 190"/>
                      <a:gd name="T52" fmla="*/ 0 w 217"/>
                      <a:gd name="T53" fmla="*/ 0 h 190"/>
                      <a:gd name="T54" fmla="*/ 0 w 217"/>
                      <a:gd name="T55" fmla="*/ 0 h 190"/>
                      <a:gd name="T56" fmla="*/ 0 w 217"/>
                      <a:gd name="T57" fmla="*/ 0 h 190"/>
                      <a:gd name="T58" fmla="*/ 0 w 217"/>
                      <a:gd name="T59" fmla="*/ 0 h 190"/>
                      <a:gd name="T60" fmla="*/ 0 w 217"/>
                      <a:gd name="T61" fmla="*/ 0 h 190"/>
                      <a:gd name="T62" fmla="*/ 0 w 217"/>
                      <a:gd name="T63" fmla="*/ 0 h 190"/>
                      <a:gd name="T64" fmla="*/ 0 w 217"/>
                      <a:gd name="T65" fmla="*/ 0 h 190"/>
                      <a:gd name="T66" fmla="*/ 0 w 217"/>
                      <a:gd name="T67" fmla="*/ 0 h 19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7"/>
                      <a:gd name="T103" fmla="*/ 0 h 190"/>
                      <a:gd name="T104" fmla="*/ 217 w 217"/>
                      <a:gd name="T105" fmla="*/ 190 h 19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7" h="190">
                        <a:moveTo>
                          <a:pt x="27" y="96"/>
                        </a:moveTo>
                        <a:lnTo>
                          <a:pt x="29" y="115"/>
                        </a:lnTo>
                        <a:lnTo>
                          <a:pt x="34" y="133"/>
                        </a:lnTo>
                        <a:lnTo>
                          <a:pt x="43" y="148"/>
                        </a:lnTo>
                        <a:lnTo>
                          <a:pt x="55" y="163"/>
                        </a:lnTo>
                        <a:lnTo>
                          <a:pt x="69" y="175"/>
                        </a:lnTo>
                        <a:lnTo>
                          <a:pt x="85" y="183"/>
                        </a:lnTo>
                        <a:lnTo>
                          <a:pt x="103" y="188"/>
                        </a:lnTo>
                        <a:lnTo>
                          <a:pt x="122" y="190"/>
                        </a:lnTo>
                        <a:lnTo>
                          <a:pt x="141" y="188"/>
                        </a:lnTo>
                        <a:lnTo>
                          <a:pt x="159" y="183"/>
                        </a:lnTo>
                        <a:lnTo>
                          <a:pt x="175" y="175"/>
                        </a:lnTo>
                        <a:lnTo>
                          <a:pt x="190" y="163"/>
                        </a:lnTo>
                        <a:lnTo>
                          <a:pt x="201" y="148"/>
                        </a:lnTo>
                        <a:lnTo>
                          <a:pt x="210" y="133"/>
                        </a:lnTo>
                        <a:lnTo>
                          <a:pt x="215" y="115"/>
                        </a:lnTo>
                        <a:lnTo>
                          <a:pt x="217" y="96"/>
                        </a:lnTo>
                        <a:lnTo>
                          <a:pt x="215" y="77"/>
                        </a:lnTo>
                        <a:lnTo>
                          <a:pt x="210" y="59"/>
                        </a:lnTo>
                        <a:lnTo>
                          <a:pt x="201" y="42"/>
                        </a:lnTo>
                        <a:lnTo>
                          <a:pt x="190" y="29"/>
                        </a:lnTo>
                        <a:lnTo>
                          <a:pt x="175" y="17"/>
                        </a:lnTo>
                        <a:lnTo>
                          <a:pt x="159" y="7"/>
                        </a:lnTo>
                        <a:lnTo>
                          <a:pt x="141" y="2"/>
                        </a:lnTo>
                        <a:lnTo>
                          <a:pt x="122" y="0"/>
                        </a:lnTo>
                        <a:lnTo>
                          <a:pt x="94" y="3"/>
                        </a:lnTo>
                        <a:lnTo>
                          <a:pt x="69" y="13"/>
                        </a:lnTo>
                        <a:lnTo>
                          <a:pt x="48" y="26"/>
                        </a:lnTo>
                        <a:lnTo>
                          <a:pt x="31" y="42"/>
                        </a:lnTo>
                        <a:lnTo>
                          <a:pt x="17" y="58"/>
                        </a:lnTo>
                        <a:lnTo>
                          <a:pt x="8" y="71"/>
                        </a:lnTo>
                        <a:lnTo>
                          <a:pt x="2" y="81"/>
                        </a:lnTo>
                        <a:lnTo>
                          <a:pt x="0" y="84"/>
                        </a:lnTo>
                        <a:lnTo>
                          <a:pt x="27"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05" name="Freeform 25"/>
                  <p:cNvSpPr>
                    <a:spLocks/>
                  </p:cNvSpPr>
                  <p:nvPr/>
                </p:nvSpPr>
                <p:spPr bwMode="auto">
                  <a:xfrm>
                    <a:off x="3953" y="2650"/>
                    <a:ext cx="99" cy="159"/>
                  </a:xfrm>
                  <a:custGeom>
                    <a:avLst/>
                    <a:gdLst>
                      <a:gd name="T0" fmla="*/ 0 w 497"/>
                      <a:gd name="T1" fmla="*/ 0 h 793"/>
                      <a:gd name="T2" fmla="*/ 0 w 497"/>
                      <a:gd name="T3" fmla="*/ 0 h 793"/>
                      <a:gd name="T4" fmla="*/ 0 w 497"/>
                      <a:gd name="T5" fmla="*/ 0 h 793"/>
                      <a:gd name="T6" fmla="*/ 0 w 497"/>
                      <a:gd name="T7" fmla="*/ 0 h 793"/>
                      <a:gd name="T8" fmla="*/ 0 w 497"/>
                      <a:gd name="T9" fmla="*/ 0 h 793"/>
                      <a:gd name="T10" fmla="*/ 0 w 497"/>
                      <a:gd name="T11" fmla="*/ 0 h 793"/>
                      <a:gd name="T12" fmla="*/ 0 w 497"/>
                      <a:gd name="T13" fmla="*/ 0 h 793"/>
                      <a:gd name="T14" fmla="*/ 0 w 497"/>
                      <a:gd name="T15" fmla="*/ 0 h 793"/>
                      <a:gd name="T16" fmla="*/ 0 w 497"/>
                      <a:gd name="T17" fmla="*/ 0 h 793"/>
                      <a:gd name="T18" fmla="*/ 0 w 497"/>
                      <a:gd name="T19" fmla="*/ 0 h 793"/>
                      <a:gd name="T20" fmla="*/ 0 w 497"/>
                      <a:gd name="T21" fmla="*/ 0 h 793"/>
                      <a:gd name="T22" fmla="*/ 0 w 497"/>
                      <a:gd name="T23" fmla="*/ 0 h 793"/>
                      <a:gd name="T24" fmla="*/ 0 w 497"/>
                      <a:gd name="T25" fmla="*/ 0 h 793"/>
                      <a:gd name="T26" fmla="*/ 0 w 497"/>
                      <a:gd name="T27" fmla="*/ 0 h 793"/>
                      <a:gd name="T28" fmla="*/ 0 w 497"/>
                      <a:gd name="T29" fmla="*/ 0 h 793"/>
                      <a:gd name="T30" fmla="*/ 0 w 497"/>
                      <a:gd name="T31" fmla="*/ 0 h 793"/>
                      <a:gd name="T32" fmla="*/ 0 w 497"/>
                      <a:gd name="T33" fmla="*/ 0 h 793"/>
                      <a:gd name="T34" fmla="*/ 0 w 497"/>
                      <a:gd name="T35" fmla="*/ 0 h 793"/>
                      <a:gd name="T36" fmla="*/ 0 w 497"/>
                      <a:gd name="T37" fmla="*/ 0 h 793"/>
                      <a:gd name="T38" fmla="*/ 0 w 497"/>
                      <a:gd name="T39" fmla="*/ 0 h 793"/>
                      <a:gd name="T40" fmla="*/ 0 w 497"/>
                      <a:gd name="T41" fmla="*/ 0 h 793"/>
                      <a:gd name="T42" fmla="*/ 0 w 497"/>
                      <a:gd name="T43" fmla="*/ 0 h 793"/>
                      <a:gd name="T44" fmla="*/ 0 w 497"/>
                      <a:gd name="T45" fmla="*/ 0 h 793"/>
                      <a:gd name="T46" fmla="*/ 0 w 497"/>
                      <a:gd name="T47" fmla="*/ 0 h 793"/>
                      <a:gd name="T48" fmla="*/ 0 w 497"/>
                      <a:gd name="T49" fmla="*/ 0 h 793"/>
                      <a:gd name="T50" fmla="*/ 0 w 497"/>
                      <a:gd name="T51" fmla="*/ 0 h 793"/>
                      <a:gd name="T52" fmla="*/ 0 w 497"/>
                      <a:gd name="T53" fmla="*/ 0 h 793"/>
                      <a:gd name="T54" fmla="*/ 0 w 497"/>
                      <a:gd name="T55" fmla="*/ 0 h 793"/>
                      <a:gd name="T56" fmla="*/ 0 w 497"/>
                      <a:gd name="T57" fmla="*/ 0 h 793"/>
                      <a:gd name="T58" fmla="*/ 0 w 497"/>
                      <a:gd name="T59" fmla="*/ 0 h 793"/>
                      <a:gd name="T60" fmla="*/ 0 w 497"/>
                      <a:gd name="T61" fmla="*/ 0 h 793"/>
                      <a:gd name="T62" fmla="*/ 0 w 497"/>
                      <a:gd name="T63" fmla="*/ 0 h 793"/>
                      <a:gd name="T64" fmla="*/ 0 w 497"/>
                      <a:gd name="T65" fmla="*/ 0 h 793"/>
                      <a:gd name="T66" fmla="*/ 0 w 497"/>
                      <a:gd name="T67" fmla="*/ 0 h 793"/>
                      <a:gd name="T68" fmla="*/ 0 w 497"/>
                      <a:gd name="T69" fmla="*/ 0 h 793"/>
                      <a:gd name="T70" fmla="*/ 0 w 497"/>
                      <a:gd name="T71" fmla="*/ 0 h 793"/>
                      <a:gd name="T72" fmla="*/ 0 w 497"/>
                      <a:gd name="T73" fmla="*/ 0 h 793"/>
                      <a:gd name="T74" fmla="*/ 0 w 497"/>
                      <a:gd name="T75" fmla="*/ 0 h 793"/>
                      <a:gd name="T76" fmla="*/ 0 w 497"/>
                      <a:gd name="T77" fmla="*/ 0 h 793"/>
                      <a:gd name="T78" fmla="*/ 0 w 497"/>
                      <a:gd name="T79" fmla="*/ 0 h 793"/>
                      <a:gd name="T80" fmla="*/ 0 w 497"/>
                      <a:gd name="T81" fmla="*/ 0 h 793"/>
                      <a:gd name="T82" fmla="*/ 0 w 497"/>
                      <a:gd name="T83" fmla="*/ 0 h 793"/>
                      <a:gd name="T84" fmla="*/ 0 w 497"/>
                      <a:gd name="T85" fmla="*/ 0 h 793"/>
                      <a:gd name="T86" fmla="*/ 0 w 497"/>
                      <a:gd name="T87" fmla="*/ 0 h 793"/>
                      <a:gd name="T88" fmla="*/ 0 w 497"/>
                      <a:gd name="T89" fmla="*/ 0 h 793"/>
                      <a:gd name="T90" fmla="*/ 0 w 497"/>
                      <a:gd name="T91" fmla="*/ 0 h 793"/>
                      <a:gd name="T92" fmla="*/ 0 w 497"/>
                      <a:gd name="T93" fmla="*/ 0 h 793"/>
                      <a:gd name="T94" fmla="*/ 0 w 497"/>
                      <a:gd name="T95" fmla="*/ 0 h 79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7"/>
                      <a:gd name="T145" fmla="*/ 0 h 793"/>
                      <a:gd name="T146" fmla="*/ 497 w 497"/>
                      <a:gd name="T147" fmla="*/ 793 h 79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7" h="793">
                        <a:moveTo>
                          <a:pt x="473" y="542"/>
                        </a:moveTo>
                        <a:lnTo>
                          <a:pt x="475" y="531"/>
                        </a:lnTo>
                        <a:lnTo>
                          <a:pt x="480" y="504"/>
                        </a:lnTo>
                        <a:lnTo>
                          <a:pt x="485" y="462"/>
                        </a:lnTo>
                        <a:lnTo>
                          <a:pt x="491" y="411"/>
                        </a:lnTo>
                        <a:lnTo>
                          <a:pt x="495" y="353"/>
                        </a:lnTo>
                        <a:lnTo>
                          <a:pt x="497" y="295"/>
                        </a:lnTo>
                        <a:lnTo>
                          <a:pt x="495" y="238"/>
                        </a:lnTo>
                        <a:lnTo>
                          <a:pt x="488" y="187"/>
                        </a:lnTo>
                        <a:lnTo>
                          <a:pt x="475" y="144"/>
                        </a:lnTo>
                        <a:lnTo>
                          <a:pt x="460" y="106"/>
                        </a:lnTo>
                        <a:lnTo>
                          <a:pt x="441" y="74"/>
                        </a:lnTo>
                        <a:lnTo>
                          <a:pt x="422" y="48"/>
                        </a:lnTo>
                        <a:lnTo>
                          <a:pt x="404" y="28"/>
                        </a:lnTo>
                        <a:lnTo>
                          <a:pt x="388" y="13"/>
                        </a:lnTo>
                        <a:lnTo>
                          <a:pt x="379" y="4"/>
                        </a:lnTo>
                        <a:lnTo>
                          <a:pt x="374" y="1"/>
                        </a:lnTo>
                        <a:lnTo>
                          <a:pt x="373" y="0"/>
                        </a:lnTo>
                        <a:lnTo>
                          <a:pt x="365" y="15"/>
                        </a:lnTo>
                        <a:lnTo>
                          <a:pt x="356" y="29"/>
                        </a:lnTo>
                        <a:lnTo>
                          <a:pt x="344" y="40"/>
                        </a:lnTo>
                        <a:lnTo>
                          <a:pt x="331" y="51"/>
                        </a:lnTo>
                        <a:lnTo>
                          <a:pt x="317" y="58"/>
                        </a:lnTo>
                        <a:lnTo>
                          <a:pt x="301" y="64"/>
                        </a:lnTo>
                        <a:lnTo>
                          <a:pt x="285" y="69"/>
                        </a:lnTo>
                        <a:lnTo>
                          <a:pt x="267" y="70"/>
                        </a:lnTo>
                        <a:lnTo>
                          <a:pt x="266" y="70"/>
                        </a:lnTo>
                        <a:lnTo>
                          <a:pt x="265" y="70"/>
                        </a:lnTo>
                        <a:lnTo>
                          <a:pt x="239" y="103"/>
                        </a:lnTo>
                        <a:lnTo>
                          <a:pt x="239" y="106"/>
                        </a:lnTo>
                        <a:lnTo>
                          <a:pt x="240" y="116"/>
                        </a:lnTo>
                        <a:lnTo>
                          <a:pt x="241" y="128"/>
                        </a:lnTo>
                        <a:lnTo>
                          <a:pt x="239" y="144"/>
                        </a:lnTo>
                        <a:lnTo>
                          <a:pt x="235" y="161"/>
                        </a:lnTo>
                        <a:lnTo>
                          <a:pt x="227" y="177"/>
                        </a:lnTo>
                        <a:lnTo>
                          <a:pt x="215" y="191"/>
                        </a:lnTo>
                        <a:lnTo>
                          <a:pt x="197" y="200"/>
                        </a:lnTo>
                        <a:lnTo>
                          <a:pt x="176" y="207"/>
                        </a:lnTo>
                        <a:lnTo>
                          <a:pt x="154" y="213"/>
                        </a:lnTo>
                        <a:lnTo>
                          <a:pt x="133" y="217"/>
                        </a:lnTo>
                        <a:lnTo>
                          <a:pt x="114" y="221"/>
                        </a:lnTo>
                        <a:lnTo>
                          <a:pt x="97" y="223"/>
                        </a:lnTo>
                        <a:lnTo>
                          <a:pt x="84" y="225"/>
                        </a:lnTo>
                        <a:lnTo>
                          <a:pt x="76" y="226"/>
                        </a:lnTo>
                        <a:lnTo>
                          <a:pt x="73" y="226"/>
                        </a:lnTo>
                        <a:lnTo>
                          <a:pt x="73" y="341"/>
                        </a:lnTo>
                        <a:lnTo>
                          <a:pt x="74" y="341"/>
                        </a:lnTo>
                        <a:lnTo>
                          <a:pt x="77" y="342"/>
                        </a:lnTo>
                        <a:lnTo>
                          <a:pt x="83" y="342"/>
                        </a:lnTo>
                        <a:lnTo>
                          <a:pt x="91" y="343"/>
                        </a:lnTo>
                        <a:lnTo>
                          <a:pt x="101" y="344"/>
                        </a:lnTo>
                        <a:lnTo>
                          <a:pt x="113" y="344"/>
                        </a:lnTo>
                        <a:lnTo>
                          <a:pt x="127" y="344"/>
                        </a:lnTo>
                        <a:lnTo>
                          <a:pt x="144" y="343"/>
                        </a:lnTo>
                        <a:lnTo>
                          <a:pt x="163" y="341"/>
                        </a:lnTo>
                        <a:lnTo>
                          <a:pt x="180" y="339"/>
                        </a:lnTo>
                        <a:lnTo>
                          <a:pt x="193" y="337"/>
                        </a:lnTo>
                        <a:lnTo>
                          <a:pt x="204" y="334"/>
                        </a:lnTo>
                        <a:lnTo>
                          <a:pt x="212" y="331"/>
                        </a:lnTo>
                        <a:lnTo>
                          <a:pt x="218" y="330"/>
                        </a:lnTo>
                        <a:lnTo>
                          <a:pt x="221" y="328"/>
                        </a:lnTo>
                        <a:lnTo>
                          <a:pt x="222" y="328"/>
                        </a:lnTo>
                        <a:lnTo>
                          <a:pt x="209" y="399"/>
                        </a:lnTo>
                        <a:lnTo>
                          <a:pt x="204" y="400"/>
                        </a:lnTo>
                        <a:lnTo>
                          <a:pt x="192" y="404"/>
                        </a:lnTo>
                        <a:lnTo>
                          <a:pt x="173" y="410"/>
                        </a:lnTo>
                        <a:lnTo>
                          <a:pt x="150" y="419"/>
                        </a:lnTo>
                        <a:lnTo>
                          <a:pt x="123" y="429"/>
                        </a:lnTo>
                        <a:lnTo>
                          <a:pt x="98" y="441"/>
                        </a:lnTo>
                        <a:lnTo>
                          <a:pt x="74" y="454"/>
                        </a:lnTo>
                        <a:lnTo>
                          <a:pt x="54" y="469"/>
                        </a:lnTo>
                        <a:lnTo>
                          <a:pt x="21" y="510"/>
                        </a:lnTo>
                        <a:lnTo>
                          <a:pt x="7" y="557"/>
                        </a:lnTo>
                        <a:lnTo>
                          <a:pt x="5" y="607"/>
                        </a:lnTo>
                        <a:lnTo>
                          <a:pt x="11" y="655"/>
                        </a:lnTo>
                        <a:lnTo>
                          <a:pt x="23" y="698"/>
                        </a:lnTo>
                        <a:lnTo>
                          <a:pt x="37" y="734"/>
                        </a:lnTo>
                        <a:lnTo>
                          <a:pt x="49" y="758"/>
                        </a:lnTo>
                        <a:lnTo>
                          <a:pt x="53" y="767"/>
                        </a:lnTo>
                        <a:lnTo>
                          <a:pt x="0" y="793"/>
                        </a:lnTo>
                        <a:lnTo>
                          <a:pt x="229" y="793"/>
                        </a:lnTo>
                        <a:lnTo>
                          <a:pt x="227" y="790"/>
                        </a:lnTo>
                        <a:lnTo>
                          <a:pt x="223" y="781"/>
                        </a:lnTo>
                        <a:lnTo>
                          <a:pt x="216" y="768"/>
                        </a:lnTo>
                        <a:lnTo>
                          <a:pt x="208" y="751"/>
                        </a:lnTo>
                        <a:lnTo>
                          <a:pt x="199" y="730"/>
                        </a:lnTo>
                        <a:lnTo>
                          <a:pt x="191" y="707"/>
                        </a:lnTo>
                        <a:lnTo>
                          <a:pt x="183" y="682"/>
                        </a:lnTo>
                        <a:lnTo>
                          <a:pt x="177" y="655"/>
                        </a:lnTo>
                        <a:lnTo>
                          <a:pt x="174" y="608"/>
                        </a:lnTo>
                        <a:lnTo>
                          <a:pt x="179" y="572"/>
                        </a:lnTo>
                        <a:lnTo>
                          <a:pt x="186" y="549"/>
                        </a:lnTo>
                        <a:lnTo>
                          <a:pt x="191" y="542"/>
                        </a:lnTo>
                        <a:lnTo>
                          <a:pt x="473" y="5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06" name="Freeform 26"/>
                  <p:cNvSpPr>
                    <a:spLocks/>
                  </p:cNvSpPr>
                  <p:nvPr/>
                </p:nvSpPr>
                <p:spPr bwMode="auto">
                  <a:xfrm>
                    <a:off x="3945" y="2692"/>
                    <a:ext cx="19" cy="19"/>
                  </a:xfrm>
                  <a:custGeom>
                    <a:avLst/>
                    <a:gdLst>
                      <a:gd name="T0" fmla="*/ 0 w 92"/>
                      <a:gd name="T1" fmla="*/ 0 h 96"/>
                      <a:gd name="T2" fmla="*/ 0 w 92"/>
                      <a:gd name="T3" fmla="*/ 0 h 96"/>
                      <a:gd name="T4" fmla="*/ 0 w 92"/>
                      <a:gd name="T5" fmla="*/ 0 h 96"/>
                      <a:gd name="T6" fmla="*/ 0 w 92"/>
                      <a:gd name="T7" fmla="*/ 0 h 96"/>
                      <a:gd name="T8" fmla="*/ 0 w 92"/>
                      <a:gd name="T9" fmla="*/ 0 h 96"/>
                      <a:gd name="T10" fmla="*/ 0 w 92"/>
                      <a:gd name="T11" fmla="*/ 0 h 96"/>
                      <a:gd name="T12" fmla="*/ 0 w 92"/>
                      <a:gd name="T13" fmla="*/ 0 h 96"/>
                      <a:gd name="T14" fmla="*/ 0 w 92"/>
                      <a:gd name="T15" fmla="*/ 0 h 96"/>
                      <a:gd name="T16" fmla="*/ 0 w 92"/>
                      <a:gd name="T17" fmla="*/ 0 h 96"/>
                      <a:gd name="T18" fmla="*/ 0 w 92"/>
                      <a:gd name="T19" fmla="*/ 0 h 96"/>
                      <a:gd name="T20" fmla="*/ 0 w 92"/>
                      <a:gd name="T21" fmla="*/ 0 h 96"/>
                      <a:gd name="T22" fmla="*/ 0 w 92"/>
                      <a:gd name="T23" fmla="*/ 0 h 96"/>
                      <a:gd name="T24" fmla="*/ 0 w 92"/>
                      <a:gd name="T25" fmla="*/ 0 h 96"/>
                      <a:gd name="T26" fmla="*/ 0 w 92"/>
                      <a:gd name="T27" fmla="*/ 0 h 96"/>
                      <a:gd name="T28" fmla="*/ 0 w 92"/>
                      <a:gd name="T29" fmla="*/ 0 h 96"/>
                      <a:gd name="T30" fmla="*/ 0 w 92"/>
                      <a:gd name="T31" fmla="*/ 0 h 96"/>
                      <a:gd name="T32" fmla="*/ 0 w 92"/>
                      <a:gd name="T33" fmla="*/ 0 h 96"/>
                      <a:gd name="T34" fmla="*/ 0 w 92"/>
                      <a:gd name="T35" fmla="*/ 0 h 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2"/>
                      <a:gd name="T55" fmla="*/ 0 h 96"/>
                      <a:gd name="T56" fmla="*/ 92 w 92"/>
                      <a:gd name="T57" fmla="*/ 96 h 9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2" h="96">
                        <a:moveTo>
                          <a:pt x="92" y="22"/>
                        </a:moveTo>
                        <a:lnTo>
                          <a:pt x="92" y="96"/>
                        </a:lnTo>
                        <a:lnTo>
                          <a:pt x="91" y="96"/>
                        </a:lnTo>
                        <a:lnTo>
                          <a:pt x="87" y="95"/>
                        </a:lnTo>
                        <a:lnTo>
                          <a:pt x="81" y="94"/>
                        </a:lnTo>
                        <a:lnTo>
                          <a:pt x="74" y="92"/>
                        </a:lnTo>
                        <a:lnTo>
                          <a:pt x="67" y="90"/>
                        </a:lnTo>
                        <a:lnTo>
                          <a:pt x="59" y="88"/>
                        </a:lnTo>
                        <a:lnTo>
                          <a:pt x="52" y="83"/>
                        </a:lnTo>
                        <a:lnTo>
                          <a:pt x="46" y="79"/>
                        </a:lnTo>
                        <a:lnTo>
                          <a:pt x="35" y="69"/>
                        </a:lnTo>
                        <a:lnTo>
                          <a:pt x="28" y="58"/>
                        </a:lnTo>
                        <a:lnTo>
                          <a:pt x="22" y="50"/>
                        </a:lnTo>
                        <a:lnTo>
                          <a:pt x="20" y="47"/>
                        </a:lnTo>
                        <a:lnTo>
                          <a:pt x="6" y="54"/>
                        </a:lnTo>
                        <a:lnTo>
                          <a:pt x="0" y="22"/>
                        </a:lnTo>
                        <a:lnTo>
                          <a:pt x="53" y="0"/>
                        </a:lnTo>
                        <a:lnTo>
                          <a:pt x="92"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07" name="Freeform 27"/>
                  <p:cNvSpPr>
                    <a:spLocks/>
                  </p:cNvSpPr>
                  <p:nvPr/>
                </p:nvSpPr>
                <p:spPr bwMode="auto">
                  <a:xfrm>
                    <a:off x="3907" y="2704"/>
                    <a:ext cx="46" cy="16"/>
                  </a:xfrm>
                  <a:custGeom>
                    <a:avLst/>
                    <a:gdLst>
                      <a:gd name="T0" fmla="*/ 0 w 232"/>
                      <a:gd name="T1" fmla="*/ 0 h 80"/>
                      <a:gd name="T2" fmla="*/ 0 w 232"/>
                      <a:gd name="T3" fmla="*/ 0 h 80"/>
                      <a:gd name="T4" fmla="*/ 0 w 232"/>
                      <a:gd name="T5" fmla="*/ 0 h 80"/>
                      <a:gd name="T6" fmla="*/ 0 w 232"/>
                      <a:gd name="T7" fmla="*/ 0 h 80"/>
                      <a:gd name="T8" fmla="*/ 0 w 232"/>
                      <a:gd name="T9" fmla="*/ 0 h 80"/>
                      <a:gd name="T10" fmla="*/ 0 w 232"/>
                      <a:gd name="T11" fmla="*/ 0 h 80"/>
                      <a:gd name="T12" fmla="*/ 0 w 232"/>
                      <a:gd name="T13" fmla="*/ 0 h 80"/>
                      <a:gd name="T14" fmla="*/ 0 60000 65536"/>
                      <a:gd name="T15" fmla="*/ 0 60000 65536"/>
                      <a:gd name="T16" fmla="*/ 0 60000 65536"/>
                      <a:gd name="T17" fmla="*/ 0 60000 65536"/>
                      <a:gd name="T18" fmla="*/ 0 60000 65536"/>
                      <a:gd name="T19" fmla="*/ 0 60000 65536"/>
                      <a:gd name="T20" fmla="*/ 0 60000 65536"/>
                      <a:gd name="T21" fmla="*/ 0 w 232"/>
                      <a:gd name="T22" fmla="*/ 0 h 80"/>
                      <a:gd name="T23" fmla="*/ 232 w 232"/>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2" h="80">
                        <a:moveTo>
                          <a:pt x="84" y="0"/>
                        </a:moveTo>
                        <a:lnTo>
                          <a:pt x="0" y="0"/>
                        </a:lnTo>
                        <a:lnTo>
                          <a:pt x="0" y="40"/>
                        </a:lnTo>
                        <a:lnTo>
                          <a:pt x="0" y="80"/>
                        </a:lnTo>
                        <a:lnTo>
                          <a:pt x="232" y="80"/>
                        </a:lnTo>
                        <a:lnTo>
                          <a:pt x="232" y="40"/>
                        </a:lnTo>
                        <a:lnTo>
                          <a:pt x="8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08" name="Freeform 28"/>
                  <p:cNvSpPr>
                    <a:spLocks/>
                  </p:cNvSpPr>
                  <p:nvPr/>
                </p:nvSpPr>
                <p:spPr bwMode="auto">
                  <a:xfrm>
                    <a:off x="3853" y="2617"/>
                    <a:ext cx="65" cy="72"/>
                  </a:xfrm>
                  <a:custGeom>
                    <a:avLst/>
                    <a:gdLst>
                      <a:gd name="T0" fmla="*/ 0 w 325"/>
                      <a:gd name="T1" fmla="*/ 0 h 359"/>
                      <a:gd name="T2" fmla="*/ 0 w 325"/>
                      <a:gd name="T3" fmla="*/ 0 h 359"/>
                      <a:gd name="T4" fmla="*/ 0 w 325"/>
                      <a:gd name="T5" fmla="*/ 0 h 359"/>
                      <a:gd name="T6" fmla="*/ 0 w 325"/>
                      <a:gd name="T7" fmla="*/ 0 h 359"/>
                      <a:gd name="T8" fmla="*/ 0 w 325"/>
                      <a:gd name="T9" fmla="*/ 0 h 359"/>
                      <a:gd name="T10" fmla="*/ 0 w 325"/>
                      <a:gd name="T11" fmla="*/ 0 h 359"/>
                      <a:gd name="T12" fmla="*/ 0 w 325"/>
                      <a:gd name="T13" fmla="*/ 0 h 359"/>
                      <a:gd name="T14" fmla="*/ 0 w 325"/>
                      <a:gd name="T15" fmla="*/ 0 h 359"/>
                      <a:gd name="T16" fmla="*/ 0 w 325"/>
                      <a:gd name="T17" fmla="*/ 0 h 3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5"/>
                      <a:gd name="T28" fmla="*/ 0 h 359"/>
                      <a:gd name="T29" fmla="*/ 325 w 325"/>
                      <a:gd name="T30" fmla="*/ 359 h 3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5" h="359">
                        <a:moveTo>
                          <a:pt x="139" y="0"/>
                        </a:moveTo>
                        <a:lnTo>
                          <a:pt x="139" y="36"/>
                        </a:lnTo>
                        <a:lnTo>
                          <a:pt x="0" y="77"/>
                        </a:lnTo>
                        <a:lnTo>
                          <a:pt x="0" y="274"/>
                        </a:lnTo>
                        <a:lnTo>
                          <a:pt x="139" y="316"/>
                        </a:lnTo>
                        <a:lnTo>
                          <a:pt x="139" y="359"/>
                        </a:lnTo>
                        <a:lnTo>
                          <a:pt x="325" y="359"/>
                        </a:lnTo>
                        <a:lnTo>
                          <a:pt x="325" y="0"/>
                        </a:lnTo>
                        <a:lnTo>
                          <a:pt x="1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09" name="Freeform 29"/>
                  <p:cNvSpPr>
                    <a:spLocks/>
                  </p:cNvSpPr>
                  <p:nvPr/>
                </p:nvSpPr>
                <p:spPr bwMode="auto">
                  <a:xfrm>
                    <a:off x="3853" y="2724"/>
                    <a:ext cx="105" cy="85"/>
                  </a:xfrm>
                  <a:custGeom>
                    <a:avLst/>
                    <a:gdLst>
                      <a:gd name="T0" fmla="*/ 0 w 524"/>
                      <a:gd name="T1" fmla="*/ 0 h 427"/>
                      <a:gd name="T2" fmla="*/ 0 w 524"/>
                      <a:gd name="T3" fmla="*/ 0 h 427"/>
                      <a:gd name="T4" fmla="*/ 0 w 524"/>
                      <a:gd name="T5" fmla="*/ 0 h 427"/>
                      <a:gd name="T6" fmla="*/ 0 w 524"/>
                      <a:gd name="T7" fmla="*/ 0 h 427"/>
                      <a:gd name="T8" fmla="*/ 0 w 524"/>
                      <a:gd name="T9" fmla="*/ 0 h 427"/>
                      <a:gd name="T10" fmla="*/ 0 w 524"/>
                      <a:gd name="T11" fmla="*/ 0 h 427"/>
                      <a:gd name="T12" fmla="*/ 0 w 524"/>
                      <a:gd name="T13" fmla="*/ 0 h 427"/>
                      <a:gd name="T14" fmla="*/ 0 w 524"/>
                      <a:gd name="T15" fmla="*/ 0 h 427"/>
                      <a:gd name="T16" fmla="*/ 0 w 524"/>
                      <a:gd name="T17" fmla="*/ 0 h 4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4"/>
                      <a:gd name="T28" fmla="*/ 0 h 427"/>
                      <a:gd name="T29" fmla="*/ 524 w 524"/>
                      <a:gd name="T30" fmla="*/ 427 h 4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4" h="427">
                        <a:moveTo>
                          <a:pt x="524" y="0"/>
                        </a:moveTo>
                        <a:lnTo>
                          <a:pt x="0" y="0"/>
                        </a:lnTo>
                        <a:lnTo>
                          <a:pt x="0" y="33"/>
                        </a:lnTo>
                        <a:lnTo>
                          <a:pt x="0" y="47"/>
                        </a:lnTo>
                        <a:lnTo>
                          <a:pt x="0" y="427"/>
                        </a:lnTo>
                        <a:lnTo>
                          <a:pt x="445" y="427"/>
                        </a:lnTo>
                        <a:lnTo>
                          <a:pt x="445" y="47"/>
                        </a:lnTo>
                        <a:lnTo>
                          <a:pt x="524" y="47"/>
                        </a:lnTo>
                        <a:lnTo>
                          <a:pt x="5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10" name="Rectangle 30"/>
                  <p:cNvSpPr>
                    <a:spLocks noChangeArrowheads="1"/>
                  </p:cNvSpPr>
                  <p:nvPr/>
                </p:nvSpPr>
                <p:spPr bwMode="auto">
                  <a:xfrm>
                    <a:off x="3857" y="2694"/>
                    <a:ext cx="45"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211" name="Freeform 31"/>
                  <p:cNvSpPr>
                    <a:spLocks/>
                  </p:cNvSpPr>
                  <p:nvPr/>
                </p:nvSpPr>
                <p:spPr bwMode="auto">
                  <a:xfrm>
                    <a:off x="3997" y="2678"/>
                    <a:ext cx="66" cy="131"/>
                  </a:xfrm>
                  <a:custGeom>
                    <a:avLst/>
                    <a:gdLst>
                      <a:gd name="T0" fmla="*/ 0 w 328"/>
                      <a:gd name="T1" fmla="*/ 0 h 653"/>
                      <a:gd name="T2" fmla="*/ 0 w 328"/>
                      <a:gd name="T3" fmla="*/ 0 h 653"/>
                      <a:gd name="T4" fmla="*/ 0 w 328"/>
                      <a:gd name="T5" fmla="*/ 0 h 653"/>
                      <a:gd name="T6" fmla="*/ 0 w 328"/>
                      <a:gd name="T7" fmla="*/ 0 h 653"/>
                      <a:gd name="T8" fmla="*/ 0 w 328"/>
                      <a:gd name="T9" fmla="*/ 0 h 653"/>
                      <a:gd name="T10" fmla="*/ 0 w 328"/>
                      <a:gd name="T11" fmla="*/ 0 h 653"/>
                      <a:gd name="T12" fmla="*/ 0 w 328"/>
                      <a:gd name="T13" fmla="*/ 0 h 653"/>
                      <a:gd name="T14" fmla="*/ 0 w 328"/>
                      <a:gd name="T15" fmla="*/ 0 h 653"/>
                      <a:gd name="T16" fmla="*/ 0 w 328"/>
                      <a:gd name="T17" fmla="*/ 0 h 653"/>
                      <a:gd name="T18" fmla="*/ 0 w 328"/>
                      <a:gd name="T19" fmla="*/ 0 h 653"/>
                      <a:gd name="T20" fmla="*/ 0 w 328"/>
                      <a:gd name="T21" fmla="*/ 0 h 653"/>
                      <a:gd name="T22" fmla="*/ 0 w 328"/>
                      <a:gd name="T23" fmla="*/ 0 h 653"/>
                      <a:gd name="T24" fmla="*/ 0 w 328"/>
                      <a:gd name="T25" fmla="*/ 0 h 653"/>
                      <a:gd name="T26" fmla="*/ 0 w 328"/>
                      <a:gd name="T27" fmla="*/ 0 h 653"/>
                      <a:gd name="T28" fmla="*/ 0 w 328"/>
                      <a:gd name="T29" fmla="*/ 0 h 653"/>
                      <a:gd name="T30" fmla="*/ 0 w 328"/>
                      <a:gd name="T31" fmla="*/ 0 h 6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8"/>
                      <a:gd name="T49" fmla="*/ 0 h 653"/>
                      <a:gd name="T50" fmla="*/ 328 w 328"/>
                      <a:gd name="T51" fmla="*/ 653 h 6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8" h="653">
                        <a:moveTo>
                          <a:pt x="291" y="0"/>
                        </a:moveTo>
                        <a:lnTo>
                          <a:pt x="291" y="426"/>
                        </a:lnTo>
                        <a:lnTo>
                          <a:pt x="0" y="426"/>
                        </a:lnTo>
                        <a:lnTo>
                          <a:pt x="0" y="470"/>
                        </a:lnTo>
                        <a:lnTo>
                          <a:pt x="47" y="470"/>
                        </a:lnTo>
                        <a:lnTo>
                          <a:pt x="47" y="653"/>
                        </a:lnTo>
                        <a:lnTo>
                          <a:pt x="84" y="653"/>
                        </a:lnTo>
                        <a:lnTo>
                          <a:pt x="84" y="470"/>
                        </a:lnTo>
                        <a:lnTo>
                          <a:pt x="259" y="470"/>
                        </a:lnTo>
                        <a:lnTo>
                          <a:pt x="259" y="653"/>
                        </a:lnTo>
                        <a:lnTo>
                          <a:pt x="295" y="653"/>
                        </a:lnTo>
                        <a:lnTo>
                          <a:pt x="295" y="470"/>
                        </a:lnTo>
                        <a:lnTo>
                          <a:pt x="328" y="470"/>
                        </a:lnTo>
                        <a:lnTo>
                          <a:pt x="328" y="426"/>
                        </a:lnTo>
                        <a:lnTo>
                          <a:pt x="328" y="0"/>
                        </a:lnTo>
                        <a:lnTo>
                          <a:pt x="2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grpSp>
            <p:grpSp>
              <p:nvGrpSpPr>
                <p:cNvPr id="19" name="Group 32"/>
                <p:cNvGrpSpPr>
                  <a:grpSpLocks/>
                </p:cNvGrpSpPr>
                <p:nvPr/>
              </p:nvGrpSpPr>
              <p:grpSpPr bwMode="auto">
                <a:xfrm>
                  <a:off x="4313" y="1989"/>
                  <a:ext cx="306" cy="321"/>
                  <a:chOff x="3847" y="2055"/>
                  <a:chExt cx="216" cy="195"/>
                </a:xfrm>
              </p:grpSpPr>
              <p:sp>
                <p:nvSpPr>
                  <p:cNvPr id="195" name="Freeform 33"/>
                  <p:cNvSpPr>
                    <a:spLocks/>
                  </p:cNvSpPr>
                  <p:nvPr/>
                </p:nvSpPr>
                <p:spPr bwMode="auto">
                  <a:xfrm>
                    <a:off x="3944" y="2133"/>
                    <a:ext cx="18" cy="19"/>
                  </a:xfrm>
                  <a:custGeom>
                    <a:avLst/>
                    <a:gdLst>
                      <a:gd name="T0" fmla="*/ 0 w 91"/>
                      <a:gd name="T1" fmla="*/ 0 h 95"/>
                      <a:gd name="T2" fmla="*/ 0 w 91"/>
                      <a:gd name="T3" fmla="*/ 0 h 95"/>
                      <a:gd name="T4" fmla="*/ 0 w 91"/>
                      <a:gd name="T5" fmla="*/ 0 h 95"/>
                      <a:gd name="T6" fmla="*/ 0 w 91"/>
                      <a:gd name="T7" fmla="*/ 0 h 95"/>
                      <a:gd name="T8" fmla="*/ 0 w 91"/>
                      <a:gd name="T9" fmla="*/ 0 h 95"/>
                      <a:gd name="T10" fmla="*/ 0 w 91"/>
                      <a:gd name="T11" fmla="*/ 0 h 95"/>
                      <a:gd name="T12" fmla="*/ 0 w 91"/>
                      <a:gd name="T13" fmla="*/ 0 h 95"/>
                      <a:gd name="T14" fmla="*/ 0 w 91"/>
                      <a:gd name="T15" fmla="*/ 0 h 95"/>
                      <a:gd name="T16" fmla="*/ 0 w 91"/>
                      <a:gd name="T17" fmla="*/ 0 h 95"/>
                      <a:gd name="T18" fmla="*/ 0 w 91"/>
                      <a:gd name="T19" fmla="*/ 0 h 95"/>
                      <a:gd name="T20" fmla="*/ 0 w 91"/>
                      <a:gd name="T21" fmla="*/ 0 h 95"/>
                      <a:gd name="T22" fmla="*/ 0 w 91"/>
                      <a:gd name="T23" fmla="*/ 0 h 95"/>
                      <a:gd name="T24" fmla="*/ 0 w 91"/>
                      <a:gd name="T25" fmla="*/ 0 h 95"/>
                      <a:gd name="T26" fmla="*/ 0 w 91"/>
                      <a:gd name="T27" fmla="*/ 0 h 95"/>
                      <a:gd name="T28" fmla="*/ 0 w 91"/>
                      <a:gd name="T29" fmla="*/ 0 h 95"/>
                      <a:gd name="T30" fmla="*/ 0 w 91"/>
                      <a:gd name="T31" fmla="*/ 0 h 95"/>
                      <a:gd name="T32" fmla="*/ 0 w 91"/>
                      <a:gd name="T33" fmla="*/ 0 h 95"/>
                      <a:gd name="T34" fmla="*/ 0 w 91"/>
                      <a:gd name="T35" fmla="*/ 0 h 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1"/>
                      <a:gd name="T55" fmla="*/ 0 h 95"/>
                      <a:gd name="T56" fmla="*/ 91 w 91"/>
                      <a:gd name="T57" fmla="*/ 95 h 9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1" h="95">
                        <a:moveTo>
                          <a:pt x="91" y="22"/>
                        </a:moveTo>
                        <a:lnTo>
                          <a:pt x="91" y="95"/>
                        </a:lnTo>
                        <a:lnTo>
                          <a:pt x="90" y="95"/>
                        </a:lnTo>
                        <a:lnTo>
                          <a:pt x="86" y="94"/>
                        </a:lnTo>
                        <a:lnTo>
                          <a:pt x="80" y="93"/>
                        </a:lnTo>
                        <a:lnTo>
                          <a:pt x="74" y="92"/>
                        </a:lnTo>
                        <a:lnTo>
                          <a:pt x="67" y="89"/>
                        </a:lnTo>
                        <a:lnTo>
                          <a:pt x="59" y="86"/>
                        </a:lnTo>
                        <a:lnTo>
                          <a:pt x="52" y="82"/>
                        </a:lnTo>
                        <a:lnTo>
                          <a:pt x="45" y="78"/>
                        </a:lnTo>
                        <a:lnTo>
                          <a:pt x="35" y="67"/>
                        </a:lnTo>
                        <a:lnTo>
                          <a:pt x="27" y="57"/>
                        </a:lnTo>
                        <a:lnTo>
                          <a:pt x="22" y="49"/>
                        </a:lnTo>
                        <a:lnTo>
                          <a:pt x="20" y="45"/>
                        </a:lnTo>
                        <a:lnTo>
                          <a:pt x="5" y="53"/>
                        </a:lnTo>
                        <a:lnTo>
                          <a:pt x="0" y="22"/>
                        </a:lnTo>
                        <a:lnTo>
                          <a:pt x="53" y="0"/>
                        </a:lnTo>
                        <a:lnTo>
                          <a:pt x="91"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96" name="Freeform 34"/>
                  <p:cNvSpPr>
                    <a:spLocks/>
                  </p:cNvSpPr>
                  <p:nvPr/>
                </p:nvSpPr>
                <p:spPr bwMode="auto">
                  <a:xfrm>
                    <a:off x="3905" y="2145"/>
                    <a:ext cx="47" cy="16"/>
                  </a:xfrm>
                  <a:custGeom>
                    <a:avLst/>
                    <a:gdLst>
                      <a:gd name="T0" fmla="*/ 0 w 236"/>
                      <a:gd name="T1" fmla="*/ 0 h 80"/>
                      <a:gd name="T2" fmla="*/ 0 w 236"/>
                      <a:gd name="T3" fmla="*/ 0 h 80"/>
                      <a:gd name="T4" fmla="*/ 0 w 236"/>
                      <a:gd name="T5" fmla="*/ 0 h 80"/>
                      <a:gd name="T6" fmla="*/ 0 w 236"/>
                      <a:gd name="T7" fmla="*/ 0 h 80"/>
                      <a:gd name="T8" fmla="*/ 0 w 236"/>
                      <a:gd name="T9" fmla="*/ 0 h 80"/>
                      <a:gd name="T10" fmla="*/ 0 w 236"/>
                      <a:gd name="T11" fmla="*/ 0 h 80"/>
                      <a:gd name="T12" fmla="*/ 0 w 236"/>
                      <a:gd name="T13" fmla="*/ 0 h 80"/>
                      <a:gd name="T14" fmla="*/ 0 60000 65536"/>
                      <a:gd name="T15" fmla="*/ 0 60000 65536"/>
                      <a:gd name="T16" fmla="*/ 0 60000 65536"/>
                      <a:gd name="T17" fmla="*/ 0 60000 65536"/>
                      <a:gd name="T18" fmla="*/ 0 60000 65536"/>
                      <a:gd name="T19" fmla="*/ 0 60000 65536"/>
                      <a:gd name="T20" fmla="*/ 0 60000 65536"/>
                      <a:gd name="T21" fmla="*/ 0 w 236"/>
                      <a:gd name="T22" fmla="*/ 0 h 80"/>
                      <a:gd name="T23" fmla="*/ 236 w 236"/>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6" h="80">
                        <a:moveTo>
                          <a:pt x="85" y="0"/>
                        </a:moveTo>
                        <a:lnTo>
                          <a:pt x="0" y="0"/>
                        </a:lnTo>
                        <a:lnTo>
                          <a:pt x="0" y="40"/>
                        </a:lnTo>
                        <a:lnTo>
                          <a:pt x="0" y="80"/>
                        </a:lnTo>
                        <a:lnTo>
                          <a:pt x="236" y="80"/>
                        </a:lnTo>
                        <a:lnTo>
                          <a:pt x="236" y="40"/>
                        </a:lnTo>
                        <a:lnTo>
                          <a:pt x="8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97" name="Freeform 35"/>
                  <p:cNvSpPr>
                    <a:spLocks/>
                  </p:cNvSpPr>
                  <p:nvPr/>
                </p:nvSpPr>
                <p:spPr bwMode="auto">
                  <a:xfrm>
                    <a:off x="3847" y="2055"/>
                    <a:ext cx="74" cy="77"/>
                  </a:xfrm>
                  <a:custGeom>
                    <a:avLst/>
                    <a:gdLst>
                      <a:gd name="T0" fmla="*/ 0 w 370"/>
                      <a:gd name="T1" fmla="*/ 0 h 383"/>
                      <a:gd name="T2" fmla="*/ 0 w 370"/>
                      <a:gd name="T3" fmla="*/ 0 h 383"/>
                      <a:gd name="T4" fmla="*/ 0 w 370"/>
                      <a:gd name="T5" fmla="*/ 0 h 383"/>
                      <a:gd name="T6" fmla="*/ 0 w 370"/>
                      <a:gd name="T7" fmla="*/ 0 h 383"/>
                      <a:gd name="T8" fmla="*/ 0 w 370"/>
                      <a:gd name="T9" fmla="*/ 0 h 383"/>
                      <a:gd name="T10" fmla="*/ 0 w 370"/>
                      <a:gd name="T11" fmla="*/ 0 h 383"/>
                      <a:gd name="T12" fmla="*/ 0 w 370"/>
                      <a:gd name="T13" fmla="*/ 0 h 383"/>
                      <a:gd name="T14" fmla="*/ 0 w 370"/>
                      <a:gd name="T15" fmla="*/ 0 h 383"/>
                      <a:gd name="T16" fmla="*/ 0 w 370"/>
                      <a:gd name="T17" fmla="*/ 0 h 3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0"/>
                      <a:gd name="T28" fmla="*/ 0 h 383"/>
                      <a:gd name="T29" fmla="*/ 370 w 370"/>
                      <a:gd name="T30" fmla="*/ 383 h 3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0" h="383">
                        <a:moveTo>
                          <a:pt x="125" y="30"/>
                        </a:moveTo>
                        <a:lnTo>
                          <a:pt x="131" y="64"/>
                        </a:lnTo>
                        <a:lnTo>
                          <a:pt x="0" y="128"/>
                        </a:lnTo>
                        <a:lnTo>
                          <a:pt x="32" y="322"/>
                        </a:lnTo>
                        <a:lnTo>
                          <a:pt x="177" y="341"/>
                        </a:lnTo>
                        <a:lnTo>
                          <a:pt x="183" y="383"/>
                        </a:lnTo>
                        <a:lnTo>
                          <a:pt x="370" y="352"/>
                        </a:lnTo>
                        <a:lnTo>
                          <a:pt x="311" y="0"/>
                        </a:lnTo>
                        <a:lnTo>
                          <a:pt x="12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98" name="Freeform 36"/>
                  <p:cNvSpPr>
                    <a:spLocks/>
                  </p:cNvSpPr>
                  <p:nvPr/>
                </p:nvSpPr>
                <p:spPr bwMode="auto">
                  <a:xfrm>
                    <a:off x="3850" y="2165"/>
                    <a:ext cx="106" cy="85"/>
                  </a:xfrm>
                  <a:custGeom>
                    <a:avLst/>
                    <a:gdLst>
                      <a:gd name="T0" fmla="*/ 0 w 531"/>
                      <a:gd name="T1" fmla="*/ 0 h 426"/>
                      <a:gd name="T2" fmla="*/ 0 w 531"/>
                      <a:gd name="T3" fmla="*/ 0 h 426"/>
                      <a:gd name="T4" fmla="*/ 0 w 531"/>
                      <a:gd name="T5" fmla="*/ 0 h 426"/>
                      <a:gd name="T6" fmla="*/ 0 w 531"/>
                      <a:gd name="T7" fmla="*/ 0 h 426"/>
                      <a:gd name="T8" fmla="*/ 0 w 531"/>
                      <a:gd name="T9" fmla="*/ 0 h 426"/>
                      <a:gd name="T10" fmla="*/ 0 w 531"/>
                      <a:gd name="T11" fmla="*/ 0 h 426"/>
                      <a:gd name="T12" fmla="*/ 0 w 531"/>
                      <a:gd name="T13" fmla="*/ 0 h 426"/>
                      <a:gd name="T14" fmla="*/ 0 w 531"/>
                      <a:gd name="T15" fmla="*/ 0 h 426"/>
                      <a:gd name="T16" fmla="*/ 0 w 531"/>
                      <a:gd name="T17" fmla="*/ 0 h 4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1"/>
                      <a:gd name="T28" fmla="*/ 0 h 426"/>
                      <a:gd name="T29" fmla="*/ 531 w 531"/>
                      <a:gd name="T30" fmla="*/ 426 h 4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1" h="426">
                        <a:moveTo>
                          <a:pt x="531" y="0"/>
                        </a:moveTo>
                        <a:lnTo>
                          <a:pt x="0" y="0"/>
                        </a:lnTo>
                        <a:lnTo>
                          <a:pt x="0" y="32"/>
                        </a:lnTo>
                        <a:lnTo>
                          <a:pt x="0" y="47"/>
                        </a:lnTo>
                        <a:lnTo>
                          <a:pt x="0" y="426"/>
                        </a:lnTo>
                        <a:lnTo>
                          <a:pt x="449" y="426"/>
                        </a:lnTo>
                        <a:lnTo>
                          <a:pt x="449" y="47"/>
                        </a:lnTo>
                        <a:lnTo>
                          <a:pt x="531" y="47"/>
                        </a:lnTo>
                        <a:lnTo>
                          <a:pt x="5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99" name="Rectangle 37"/>
                  <p:cNvSpPr>
                    <a:spLocks noChangeArrowheads="1"/>
                  </p:cNvSpPr>
                  <p:nvPr/>
                </p:nvSpPr>
                <p:spPr bwMode="auto">
                  <a:xfrm>
                    <a:off x="3855" y="2135"/>
                    <a:ext cx="44"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200" name="Freeform 38"/>
                  <p:cNvSpPr>
                    <a:spLocks/>
                  </p:cNvSpPr>
                  <p:nvPr/>
                </p:nvSpPr>
                <p:spPr bwMode="auto">
                  <a:xfrm>
                    <a:off x="3996" y="2120"/>
                    <a:ext cx="67" cy="130"/>
                  </a:xfrm>
                  <a:custGeom>
                    <a:avLst/>
                    <a:gdLst>
                      <a:gd name="T0" fmla="*/ 0 w 333"/>
                      <a:gd name="T1" fmla="*/ 0 h 652"/>
                      <a:gd name="T2" fmla="*/ 0 w 333"/>
                      <a:gd name="T3" fmla="*/ 0 h 652"/>
                      <a:gd name="T4" fmla="*/ 0 w 333"/>
                      <a:gd name="T5" fmla="*/ 0 h 652"/>
                      <a:gd name="T6" fmla="*/ 0 w 333"/>
                      <a:gd name="T7" fmla="*/ 0 h 652"/>
                      <a:gd name="T8" fmla="*/ 0 w 333"/>
                      <a:gd name="T9" fmla="*/ 0 h 652"/>
                      <a:gd name="T10" fmla="*/ 0 w 333"/>
                      <a:gd name="T11" fmla="*/ 0 h 652"/>
                      <a:gd name="T12" fmla="*/ 0 w 333"/>
                      <a:gd name="T13" fmla="*/ 0 h 652"/>
                      <a:gd name="T14" fmla="*/ 0 w 333"/>
                      <a:gd name="T15" fmla="*/ 0 h 652"/>
                      <a:gd name="T16" fmla="*/ 0 w 333"/>
                      <a:gd name="T17" fmla="*/ 0 h 652"/>
                      <a:gd name="T18" fmla="*/ 0 w 333"/>
                      <a:gd name="T19" fmla="*/ 0 h 652"/>
                      <a:gd name="T20" fmla="*/ 0 w 333"/>
                      <a:gd name="T21" fmla="*/ 0 h 652"/>
                      <a:gd name="T22" fmla="*/ 0 w 333"/>
                      <a:gd name="T23" fmla="*/ 0 h 652"/>
                      <a:gd name="T24" fmla="*/ 0 w 333"/>
                      <a:gd name="T25" fmla="*/ 0 h 652"/>
                      <a:gd name="T26" fmla="*/ 0 w 333"/>
                      <a:gd name="T27" fmla="*/ 0 h 652"/>
                      <a:gd name="T28" fmla="*/ 0 w 333"/>
                      <a:gd name="T29" fmla="*/ 0 h 652"/>
                      <a:gd name="T30" fmla="*/ 0 w 333"/>
                      <a:gd name="T31" fmla="*/ 0 h 6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3"/>
                      <a:gd name="T49" fmla="*/ 0 h 652"/>
                      <a:gd name="T50" fmla="*/ 333 w 333"/>
                      <a:gd name="T51" fmla="*/ 652 h 6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3" h="652">
                        <a:moveTo>
                          <a:pt x="296" y="0"/>
                        </a:moveTo>
                        <a:lnTo>
                          <a:pt x="296" y="426"/>
                        </a:lnTo>
                        <a:lnTo>
                          <a:pt x="0" y="426"/>
                        </a:lnTo>
                        <a:lnTo>
                          <a:pt x="0" y="469"/>
                        </a:lnTo>
                        <a:lnTo>
                          <a:pt x="48" y="469"/>
                        </a:lnTo>
                        <a:lnTo>
                          <a:pt x="48" y="652"/>
                        </a:lnTo>
                        <a:lnTo>
                          <a:pt x="85" y="652"/>
                        </a:lnTo>
                        <a:lnTo>
                          <a:pt x="85" y="469"/>
                        </a:lnTo>
                        <a:lnTo>
                          <a:pt x="263" y="469"/>
                        </a:lnTo>
                        <a:lnTo>
                          <a:pt x="263" y="652"/>
                        </a:lnTo>
                        <a:lnTo>
                          <a:pt x="299" y="652"/>
                        </a:lnTo>
                        <a:lnTo>
                          <a:pt x="299" y="469"/>
                        </a:lnTo>
                        <a:lnTo>
                          <a:pt x="333" y="469"/>
                        </a:lnTo>
                        <a:lnTo>
                          <a:pt x="333" y="426"/>
                        </a:lnTo>
                        <a:lnTo>
                          <a:pt x="333" y="0"/>
                        </a:lnTo>
                        <a:lnTo>
                          <a:pt x="29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01" name="Freeform 39"/>
                  <p:cNvSpPr>
                    <a:spLocks/>
                  </p:cNvSpPr>
                  <p:nvPr/>
                </p:nvSpPr>
                <p:spPr bwMode="auto">
                  <a:xfrm>
                    <a:off x="3981" y="2056"/>
                    <a:ext cx="59" cy="60"/>
                  </a:xfrm>
                  <a:custGeom>
                    <a:avLst/>
                    <a:gdLst>
                      <a:gd name="T0" fmla="*/ 0 w 295"/>
                      <a:gd name="T1" fmla="*/ 0 h 301"/>
                      <a:gd name="T2" fmla="*/ 0 w 295"/>
                      <a:gd name="T3" fmla="*/ 0 h 301"/>
                      <a:gd name="T4" fmla="*/ 0 w 295"/>
                      <a:gd name="T5" fmla="*/ 0 h 301"/>
                      <a:gd name="T6" fmla="*/ 0 w 295"/>
                      <a:gd name="T7" fmla="*/ 0 h 301"/>
                      <a:gd name="T8" fmla="*/ 0 w 295"/>
                      <a:gd name="T9" fmla="*/ 0 h 301"/>
                      <a:gd name="T10" fmla="*/ 0 w 295"/>
                      <a:gd name="T11" fmla="*/ 0 h 301"/>
                      <a:gd name="T12" fmla="*/ 0 w 295"/>
                      <a:gd name="T13" fmla="*/ 0 h 301"/>
                      <a:gd name="T14" fmla="*/ 0 w 295"/>
                      <a:gd name="T15" fmla="*/ 0 h 301"/>
                      <a:gd name="T16" fmla="*/ 0 w 295"/>
                      <a:gd name="T17" fmla="*/ 0 h 301"/>
                      <a:gd name="T18" fmla="*/ 0 w 295"/>
                      <a:gd name="T19" fmla="*/ 0 h 301"/>
                      <a:gd name="T20" fmla="*/ 0 w 295"/>
                      <a:gd name="T21" fmla="*/ 0 h 301"/>
                      <a:gd name="T22" fmla="*/ 0 w 295"/>
                      <a:gd name="T23" fmla="*/ 0 h 301"/>
                      <a:gd name="T24" fmla="*/ 0 w 295"/>
                      <a:gd name="T25" fmla="*/ 0 h 301"/>
                      <a:gd name="T26" fmla="*/ 0 w 295"/>
                      <a:gd name="T27" fmla="*/ 0 h 301"/>
                      <a:gd name="T28" fmla="*/ 0 w 295"/>
                      <a:gd name="T29" fmla="*/ 0 h 301"/>
                      <a:gd name="T30" fmla="*/ 0 w 295"/>
                      <a:gd name="T31" fmla="*/ 0 h 301"/>
                      <a:gd name="T32" fmla="*/ 0 w 295"/>
                      <a:gd name="T33" fmla="*/ 0 h 301"/>
                      <a:gd name="T34" fmla="*/ 0 w 295"/>
                      <a:gd name="T35" fmla="*/ 0 h 301"/>
                      <a:gd name="T36" fmla="*/ 0 w 295"/>
                      <a:gd name="T37" fmla="*/ 0 h 301"/>
                      <a:gd name="T38" fmla="*/ 0 w 295"/>
                      <a:gd name="T39" fmla="*/ 0 h 301"/>
                      <a:gd name="T40" fmla="*/ 0 w 295"/>
                      <a:gd name="T41" fmla="*/ 0 h 301"/>
                      <a:gd name="T42" fmla="*/ 0 w 295"/>
                      <a:gd name="T43" fmla="*/ 0 h 301"/>
                      <a:gd name="T44" fmla="*/ 0 w 295"/>
                      <a:gd name="T45" fmla="*/ 0 h 301"/>
                      <a:gd name="T46" fmla="*/ 0 w 295"/>
                      <a:gd name="T47" fmla="*/ 0 h 301"/>
                      <a:gd name="T48" fmla="*/ 0 w 295"/>
                      <a:gd name="T49" fmla="*/ 0 h 301"/>
                      <a:gd name="T50" fmla="*/ 0 w 295"/>
                      <a:gd name="T51" fmla="*/ 0 h 301"/>
                      <a:gd name="T52" fmla="*/ 0 w 295"/>
                      <a:gd name="T53" fmla="*/ 0 h 301"/>
                      <a:gd name="T54" fmla="*/ 0 w 295"/>
                      <a:gd name="T55" fmla="*/ 0 h 301"/>
                      <a:gd name="T56" fmla="*/ 0 w 295"/>
                      <a:gd name="T57" fmla="*/ 0 h 301"/>
                      <a:gd name="T58" fmla="*/ 0 w 295"/>
                      <a:gd name="T59" fmla="*/ 0 h 301"/>
                      <a:gd name="T60" fmla="*/ 0 w 295"/>
                      <a:gd name="T61" fmla="*/ 0 h 301"/>
                      <a:gd name="T62" fmla="*/ 0 w 295"/>
                      <a:gd name="T63" fmla="*/ 0 h 301"/>
                      <a:gd name="T64" fmla="*/ 0 w 295"/>
                      <a:gd name="T65" fmla="*/ 0 h 301"/>
                      <a:gd name="T66" fmla="*/ 0 w 295"/>
                      <a:gd name="T67" fmla="*/ 0 h 301"/>
                      <a:gd name="T68" fmla="*/ 0 w 295"/>
                      <a:gd name="T69" fmla="*/ 0 h 301"/>
                      <a:gd name="T70" fmla="*/ 0 w 295"/>
                      <a:gd name="T71" fmla="*/ 0 h 3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5"/>
                      <a:gd name="T109" fmla="*/ 0 h 301"/>
                      <a:gd name="T110" fmla="*/ 295 w 295"/>
                      <a:gd name="T111" fmla="*/ 301 h 3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5" h="301">
                        <a:moveTo>
                          <a:pt x="28" y="132"/>
                        </a:moveTo>
                        <a:lnTo>
                          <a:pt x="0" y="122"/>
                        </a:lnTo>
                        <a:lnTo>
                          <a:pt x="1" y="121"/>
                        </a:lnTo>
                        <a:lnTo>
                          <a:pt x="4" y="116"/>
                        </a:lnTo>
                        <a:lnTo>
                          <a:pt x="9" y="110"/>
                        </a:lnTo>
                        <a:lnTo>
                          <a:pt x="16" y="104"/>
                        </a:lnTo>
                        <a:lnTo>
                          <a:pt x="23" y="95"/>
                        </a:lnTo>
                        <a:lnTo>
                          <a:pt x="31" y="88"/>
                        </a:lnTo>
                        <a:lnTo>
                          <a:pt x="39" y="80"/>
                        </a:lnTo>
                        <a:lnTo>
                          <a:pt x="47" y="73"/>
                        </a:lnTo>
                        <a:lnTo>
                          <a:pt x="61" y="63"/>
                        </a:lnTo>
                        <a:lnTo>
                          <a:pt x="70" y="54"/>
                        </a:lnTo>
                        <a:lnTo>
                          <a:pt x="75" y="49"/>
                        </a:lnTo>
                        <a:lnTo>
                          <a:pt x="78" y="47"/>
                        </a:lnTo>
                        <a:lnTo>
                          <a:pt x="63" y="28"/>
                        </a:lnTo>
                        <a:lnTo>
                          <a:pt x="65" y="26"/>
                        </a:lnTo>
                        <a:lnTo>
                          <a:pt x="71" y="21"/>
                        </a:lnTo>
                        <a:lnTo>
                          <a:pt x="82" y="15"/>
                        </a:lnTo>
                        <a:lnTo>
                          <a:pt x="96" y="8"/>
                        </a:lnTo>
                        <a:lnTo>
                          <a:pt x="113" y="3"/>
                        </a:lnTo>
                        <a:lnTo>
                          <a:pt x="132" y="0"/>
                        </a:lnTo>
                        <a:lnTo>
                          <a:pt x="155" y="0"/>
                        </a:lnTo>
                        <a:lnTo>
                          <a:pt x="180" y="6"/>
                        </a:lnTo>
                        <a:lnTo>
                          <a:pt x="203" y="16"/>
                        </a:lnTo>
                        <a:lnTo>
                          <a:pt x="222" y="26"/>
                        </a:lnTo>
                        <a:lnTo>
                          <a:pt x="237" y="39"/>
                        </a:lnTo>
                        <a:lnTo>
                          <a:pt x="249" y="50"/>
                        </a:lnTo>
                        <a:lnTo>
                          <a:pt x="258" y="63"/>
                        </a:lnTo>
                        <a:lnTo>
                          <a:pt x="263" y="76"/>
                        </a:lnTo>
                        <a:lnTo>
                          <a:pt x="266" y="90"/>
                        </a:lnTo>
                        <a:lnTo>
                          <a:pt x="267" y="103"/>
                        </a:lnTo>
                        <a:lnTo>
                          <a:pt x="268" y="131"/>
                        </a:lnTo>
                        <a:lnTo>
                          <a:pt x="269" y="159"/>
                        </a:lnTo>
                        <a:lnTo>
                          <a:pt x="271" y="184"/>
                        </a:lnTo>
                        <a:lnTo>
                          <a:pt x="275" y="200"/>
                        </a:lnTo>
                        <a:lnTo>
                          <a:pt x="281" y="213"/>
                        </a:lnTo>
                        <a:lnTo>
                          <a:pt x="287" y="226"/>
                        </a:lnTo>
                        <a:lnTo>
                          <a:pt x="293" y="234"/>
                        </a:lnTo>
                        <a:lnTo>
                          <a:pt x="295" y="238"/>
                        </a:lnTo>
                        <a:lnTo>
                          <a:pt x="295" y="239"/>
                        </a:lnTo>
                        <a:lnTo>
                          <a:pt x="293" y="243"/>
                        </a:lnTo>
                        <a:lnTo>
                          <a:pt x="290" y="250"/>
                        </a:lnTo>
                        <a:lnTo>
                          <a:pt x="284" y="256"/>
                        </a:lnTo>
                        <a:lnTo>
                          <a:pt x="276" y="264"/>
                        </a:lnTo>
                        <a:lnTo>
                          <a:pt x="265" y="272"/>
                        </a:lnTo>
                        <a:lnTo>
                          <a:pt x="250" y="279"/>
                        </a:lnTo>
                        <a:lnTo>
                          <a:pt x="231" y="285"/>
                        </a:lnTo>
                        <a:lnTo>
                          <a:pt x="211" y="291"/>
                        </a:lnTo>
                        <a:lnTo>
                          <a:pt x="193" y="294"/>
                        </a:lnTo>
                        <a:lnTo>
                          <a:pt x="178" y="297"/>
                        </a:lnTo>
                        <a:lnTo>
                          <a:pt x="165" y="299"/>
                        </a:lnTo>
                        <a:lnTo>
                          <a:pt x="154" y="300"/>
                        </a:lnTo>
                        <a:lnTo>
                          <a:pt x="147" y="301"/>
                        </a:lnTo>
                        <a:lnTo>
                          <a:pt x="142" y="301"/>
                        </a:lnTo>
                        <a:lnTo>
                          <a:pt x="140" y="301"/>
                        </a:lnTo>
                        <a:lnTo>
                          <a:pt x="140" y="226"/>
                        </a:lnTo>
                        <a:lnTo>
                          <a:pt x="138" y="226"/>
                        </a:lnTo>
                        <a:lnTo>
                          <a:pt x="134" y="227"/>
                        </a:lnTo>
                        <a:lnTo>
                          <a:pt x="127" y="228"/>
                        </a:lnTo>
                        <a:lnTo>
                          <a:pt x="117" y="228"/>
                        </a:lnTo>
                        <a:lnTo>
                          <a:pt x="105" y="227"/>
                        </a:lnTo>
                        <a:lnTo>
                          <a:pt x="93" y="222"/>
                        </a:lnTo>
                        <a:lnTo>
                          <a:pt x="79" y="216"/>
                        </a:lnTo>
                        <a:lnTo>
                          <a:pt x="64" y="207"/>
                        </a:lnTo>
                        <a:lnTo>
                          <a:pt x="51" y="194"/>
                        </a:lnTo>
                        <a:lnTo>
                          <a:pt x="41" y="181"/>
                        </a:lnTo>
                        <a:lnTo>
                          <a:pt x="35" y="169"/>
                        </a:lnTo>
                        <a:lnTo>
                          <a:pt x="31" y="157"/>
                        </a:lnTo>
                        <a:lnTo>
                          <a:pt x="29" y="147"/>
                        </a:lnTo>
                        <a:lnTo>
                          <a:pt x="28" y="139"/>
                        </a:lnTo>
                        <a:lnTo>
                          <a:pt x="28" y="134"/>
                        </a:lnTo>
                        <a:lnTo>
                          <a:pt x="28" y="1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02" name="Freeform 40"/>
                  <p:cNvSpPr>
                    <a:spLocks/>
                  </p:cNvSpPr>
                  <p:nvPr/>
                </p:nvSpPr>
                <p:spPr bwMode="auto">
                  <a:xfrm>
                    <a:off x="3946" y="2109"/>
                    <a:ext cx="106" cy="107"/>
                  </a:xfrm>
                  <a:custGeom>
                    <a:avLst/>
                    <a:gdLst>
                      <a:gd name="T0" fmla="*/ 0 w 531"/>
                      <a:gd name="T1" fmla="*/ 0 h 534"/>
                      <a:gd name="T2" fmla="*/ 0 w 531"/>
                      <a:gd name="T3" fmla="*/ 0 h 534"/>
                      <a:gd name="T4" fmla="*/ 0 w 531"/>
                      <a:gd name="T5" fmla="*/ 0 h 534"/>
                      <a:gd name="T6" fmla="*/ 0 w 531"/>
                      <a:gd name="T7" fmla="*/ 0 h 534"/>
                      <a:gd name="T8" fmla="*/ 0 w 531"/>
                      <a:gd name="T9" fmla="*/ 0 h 534"/>
                      <a:gd name="T10" fmla="*/ 0 w 531"/>
                      <a:gd name="T11" fmla="*/ 0 h 534"/>
                      <a:gd name="T12" fmla="*/ 0 w 531"/>
                      <a:gd name="T13" fmla="*/ 0 h 534"/>
                      <a:gd name="T14" fmla="*/ 0 w 531"/>
                      <a:gd name="T15" fmla="*/ 0 h 534"/>
                      <a:gd name="T16" fmla="*/ 0 w 531"/>
                      <a:gd name="T17" fmla="*/ 0 h 534"/>
                      <a:gd name="T18" fmla="*/ 0 w 531"/>
                      <a:gd name="T19" fmla="*/ 0 h 534"/>
                      <a:gd name="T20" fmla="*/ 0 w 531"/>
                      <a:gd name="T21" fmla="*/ 0 h 534"/>
                      <a:gd name="T22" fmla="*/ 0 w 531"/>
                      <a:gd name="T23" fmla="*/ 0 h 534"/>
                      <a:gd name="T24" fmla="*/ 0 w 531"/>
                      <a:gd name="T25" fmla="*/ 0 h 534"/>
                      <a:gd name="T26" fmla="*/ 0 w 531"/>
                      <a:gd name="T27" fmla="*/ 0 h 534"/>
                      <a:gd name="T28" fmla="*/ 0 w 531"/>
                      <a:gd name="T29" fmla="*/ 0 h 534"/>
                      <a:gd name="T30" fmla="*/ 0 w 531"/>
                      <a:gd name="T31" fmla="*/ 0 h 534"/>
                      <a:gd name="T32" fmla="*/ 0 w 531"/>
                      <a:gd name="T33" fmla="*/ 0 h 534"/>
                      <a:gd name="T34" fmla="*/ 0 w 531"/>
                      <a:gd name="T35" fmla="*/ 0 h 534"/>
                      <a:gd name="T36" fmla="*/ 0 w 531"/>
                      <a:gd name="T37" fmla="*/ 0 h 534"/>
                      <a:gd name="T38" fmla="*/ 0 w 531"/>
                      <a:gd name="T39" fmla="*/ 0 h 534"/>
                      <a:gd name="T40" fmla="*/ 0 w 531"/>
                      <a:gd name="T41" fmla="*/ 0 h 534"/>
                      <a:gd name="T42" fmla="*/ 0 w 531"/>
                      <a:gd name="T43" fmla="*/ 0 h 534"/>
                      <a:gd name="T44" fmla="*/ 0 w 531"/>
                      <a:gd name="T45" fmla="*/ 0 h 534"/>
                      <a:gd name="T46" fmla="*/ 0 w 531"/>
                      <a:gd name="T47" fmla="*/ 0 h 534"/>
                      <a:gd name="T48" fmla="*/ 0 w 531"/>
                      <a:gd name="T49" fmla="*/ 0 h 534"/>
                      <a:gd name="T50" fmla="*/ 0 w 531"/>
                      <a:gd name="T51" fmla="*/ 0 h 534"/>
                      <a:gd name="T52" fmla="*/ 0 w 531"/>
                      <a:gd name="T53" fmla="*/ 0 h 534"/>
                      <a:gd name="T54" fmla="*/ 0 w 531"/>
                      <a:gd name="T55" fmla="*/ 0 h 534"/>
                      <a:gd name="T56" fmla="*/ 0 w 531"/>
                      <a:gd name="T57" fmla="*/ 0 h 534"/>
                      <a:gd name="T58" fmla="*/ 0 w 531"/>
                      <a:gd name="T59" fmla="*/ 0 h 534"/>
                      <a:gd name="T60" fmla="*/ 0 w 531"/>
                      <a:gd name="T61" fmla="*/ 0 h 534"/>
                      <a:gd name="T62" fmla="*/ 0 w 531"/>
                      <a:gd name="T63" fmla="*/ 0 h 534"/>
                      <a:gd name="T64" fmla="*/ 0 w 531"/>
                      <a:gd name="T65" fmla="*/ 0 h 534"/>
                      <a:gd name="T66" fmla="*/ 0 w 531"/>
                      <a:gd name="T67" fmla="*/ 0 h 534"/>
                      <a:gd name="T68" fmla="*/ 0 w 531"/>
                      <a:gd name="T69" fmla="*/ 0 h 534"/>
                      <a:gd name="T70" fmla="*/ 0 w 531"/>
                      <a:gd name="T71" fmla="*/ 0 h 534"/>
                      <a:gd name="T72" fmla="*/ 0 w 531"/>
                      <a:gd name="T73" fmla="*/ 0 h 534"/>
                      <a:gd name="T74" fmla="*/ 0 w 531"/>
                      <a:gd name="T75" fmla="*/ 0 h 534"/>
                      <a:gd name="T76" fmla="*/ 0 w 531"/>
                      <a:gd name="T77" fmla="*/ 0 h 534"/>
                      <a:gd name="T78" fmla="*/ 0 w 531"/>
                      <a:gd name="T79" fmla="*/ 0 h 534"/>
                      <a:gd name="T80" fmla="*/ 0 w 531"/>
                      <a:gd name="T81" fmla="*/ 0 h 534"/>
                      <a:gd name="T82" fmla="*/ 0 w 531"/>
                      <a:gd name="T83" fmla="*/ 0 h 534"/>
                      <a:gd name="T84" fmla="*/ 0 w 531"/>
                      <a:gd name="T85" fmla="*/ 0 h 534"/>
                      <a:gd name="T86" fmla="*/ 0 w 531"/>
                      <a:gd name="T87" fmla="*/ 0 h 534"/>
                      <a:gd name="T88" fmla="*/ 0 w 531"/>
                      <a:gd name="T89" fmla="*/ 0 h 534"/>
                      <a:gd name="T90" fmla="*/ 0 w 531"/>
                      <a:gd name="T91" fmla="*/ 0 h 534"/>
                      <a:gd name="T92" fmla="*/ 0 w 531"/>
                      <a:gd name="T93" fmla="*/ 0 h 534"/>
                      <a:gd name="T94" fmla="*/ 0 w 531"/>
                      <a:gd name="T95" fmla="*/ 0 h 534"/>
                      <a:gd name="T96" fmla="*/ 0 w 531"/>
                      <a:gd name="T97" fmla="*/ 0 h 534"/>
                      <a:gd name="T98" fmla="*/ 0 w 531"/>
                      <a:gd name="T99" fmla="*/ 0 h 5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31"/>
                      <a:gd name="T151" fmla="*/ 0 h 534"/>
                      <a:gd name="T152" fmla="*/ 531 w 531"/>
                      <a:gd name="T153" fmla="*/ 534 h 5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31" h="534">
                        <a:moveTo>
                          <a:pt x="523" y="156"/>
                        </a:moveTo>
                        <a:lnTo>
                          <a:pt x="519" y="130"/>
                        </a:lnTo>
                        <a:lnTo>
                          <a:pt x="514" y="107"/>
                        </a:lnTo>
                        <a:lnTo>
                          <a:pt x="508" y="85"/>
                        </a:lnTo>
                        <a:lnTo>
                          <a:pt x="503" y="65"/>
                        </a:lnTo>
                        <a:lnTo>
                          <a:pt x="498" y="46"/>
                        </a:lnTo>
                        <a:lnTo>
                          <a:pt x="492" y="29"/>
                        </a:lnTo>
                        <a:lnTo>
                          <a:pt x="488" y="14"/>
                        </a:lnTo>
                        <a:lnTo>
                          <a:pt x="483" y="2"/>
                        </a:lnTo>
                        <a:lnTo>
                          <a:pt x="477" y="7"/>
                        </a:lnTo>
                        <a:lnTo>
                          <a:pt x="471" y="12"/>
                        </a:lnTo>
                        <a:lnTo>
                          <a:pt x="464" y="17"/>
                        </a:lnTo>
                        <a:lnTo>
                          <a:pt x="455" y="23"/>
                        </a:lnTo>
                        <a:lnTo>
                          <a:pt x="445" y="28"/>
                        </a:lnTo>
                        <a:lnTo>
                          <a:pt x="435" y="32"/>
                        </a:lnTo>
                        <a:lnTo>
                          <a:pt x="423" y="36"/>
                        </a:lnTo>
                        <a:lnTo>
                          <a:pt x="410" y="41"/>
                        </a:lnTo>
                        <a:lnTo>
                          <a:pt x="384" y="48"/>
                        </a:lnTo>
                        <a:lnTo>
                          <a:pt x="359" y="52"/>
                        </a:lnTo>
                        <a:lnTo>
                          <a:pt x="339" y="55"/>
                        </a:lnTo>
                        <a:lnTo>
                          <a:pt x="322" y="57"/>
                        </a:lnTo>
                        <a:lnTo>
                          <a:pt x="308" y="59"/>
                        </a:lnTo>
                        <a:lnTo>
                          <a:pt x="298" y="59"/>
                        </a:lnTo>
                        <a:lnTo>
                          <a:pt x="292" y="59"/>
                        </a:lnTo>
                        <a:lnTo>
                          <a:pt x="290" y="59"/>
                        </a:lnTo>
                        <a:lnTo>
                          <a:pt x="290" y="2"/>
                        </a:lnTo>
                        <a:lnTo>
                          <a:pt x="239" y="0"/>
                        </a:lnTo>
                        <a:lnTo>
                          <a:pt x="234" y="26"/>
                        </a:lnTo>
                        <a:lnTo>
                          <a:pt x="269" y="15"/>
                        </a:lnTo>
                        <a:lnTo>
                          <a:pt x="243" y="41"/>
                        </a:lnTo>
                        <a:lnTo>
                          <a:pt x="254" y="50"/>
                        </a:lnTo>
                        <a:lnTo>
                          <a:pt x="270" y="56"/>
                        </a:lnTo>
                        <a:lnTo>
                          <a:pt x="270" y="58"/>
                        </a:lnTo>
                        <a:lnTo>
                          <a:pt x="268" y="66"/>
                        </a:lnTo>
                        <a:lnTo>
                          <a:pt x="263" y="75"/>
                        </a:lnTo>
                        <a:lnTo>
                          <a:pt x="257" y="87"/>
                        </a:lnTo>
                        <a:lnTo>
                          <a:pt x="247" y="99"/>
                        </a:lnTo>
                        <a:lnTo>
                          <a:pt x="234" y="110"/>
                        </a:lnTo>
                        <a:lnTo>
                          <a:pt x="215" y="120"/>
                        </a:lnTo>
                        <a:lnTo>
                          <a:pt x="193" y="127"/>
                        </a:lnTo>
                        <a:lnTo>
                          <a:pt x="170" y="131"/>
                        </a:lnTo>
                        <a:lnTo>
                          <a:pt x="149" y="134"/>
                        </a:lnTo>
                        <a:lnTo>
                          <a:pt x="133" y="136"/>
                        </a:lnTo>
                        <a:lnTo>
                          <a:pt x="122" y="137"/>
                        </a:lnTo>
                        <a:lnTo>
                          <a:pt x="112" y="137"/>
                        </a:lnTo>
                        <a:lnTo>
                          <a:pt x="106" y="137"/>
                        </a:lnTo>
                        <a:lnTo>
                          <a:pt x="103" y="137"/>
                        </a:lnTo>
                        <a:lnTo>
                          <a:pt x="101" y="137"/>
                        </a:lnTo>
                        <a:lnTo>
                          <a:pt x="101" y="251"/>
                        </a:lnTo>
                        <a:lnTo>
                          <a:pt x="104" y="251"/>
                        </a:lnTo>
                        <a:lnTo>
                          <a:pt x="109" y="252"/>
                        </a:lnTo>
                        <a:lnTo>
                          <a:pt x="117" y="253"/>
                        </a:lnTo>
                        <a:lnTo>
                          <a:pt x="128" y="253"/>
                        </a:lnTo>
                        <a:lnTo>
                          <a:pt x="141" y="254"/>
                        </a:lnTo>
                        <a:lnTo>
                          <a:pt x="156" y="254"/>
                        </a:lnTo>
                        <a:lnTo>
                          <a:pt x="172" y="253"/>
                        </a:lnTo>
                        <a:lnTo>
                          <a:pt x="189" y="252"/>
                        </a:lnTo>
                        <a:lnTo>
                          <a:pt x="205" y="249"/>
                        </a:lnTo>
                        <a:lnTo>
                          <a:pt x="219" y="247"/>
                        </a:lnTo>
                        <a:lnTo>
                          <a:pt x="229" y="245"/>
                        </a:lnTo>
                        <a:lnTo>
                          <a:pt x="239" y="243"/>
                        </a:lnTo>
                        <a:lnTo>
                          <a:pt x="245" y="241"/>
                        </a:lnTo>
                        <a:lnTo>
                          <a:pt x="249" y="239"/>
                        </a:lnTo>
                        <a:lnTo>
                          <a:pt x="252" y="238"/>
                        </a:lnTo>
                        <a:lnTo>
                          <a:pt x="253" y="238"/>
                        </a:lnTo>
                        <a:lnTo>
                          <a:pt x="285" y="287"/>
                        </a:lnTo>
                        <a:lnTo>
                          <a:pt x="283" y="287"/>
                        </a:lnTo>
                        <a:lnTo>
                          <a:pt x="276" y="288"/>
                        </a:lnTo>
                        <a:lnTo>
                          <a:pt x="267" y="290"/>
                        </a:lnTo>
                        <a:lnTo>
                          <a:pt x="254" y="293"/>
                        </a:lnTo>
                        <a:lnTo>
                          <a:pt x="239" y="296"/>
                        </a:lnTo>
                        <a:lnTo>
                          <a:pt x="222" y="299"/>
                        </a:lnTo>
                        <a:lnTo>
                          <a:pt x="203" y="303"/>
                        </a:lnTo>
                        <a:lnTo>
                          <a:pt x="182" y="307"/>
                        </a:lnTo>
                        <a:lnTo>
                          <a:pt x="162" y="311"/>
                        </a:lnTo>
                        <a:lnTo>
                          <a:pt x="142" y="317"/>
                        </a:lnTo>
                        <a:lnTo>
                          <a:pt x="122" y="323"/>
                        </a:lnTo>
                        <a:lnTo>
                          <a:pt x="103" y="329"/>
                        </a:lnTo>
                        <a:lnTo>
                          <a:pt x="84" y="336"/>
                        </a:lnTo>
                        <a:lnTo>
                          <a:pt x="69" y="342"/>
                        </a:lnTo>
                        <a:lnTo>
                          <a:pt x="56" y="349"/>
                        </a:lnTo>
                        <a:lnTo>
                          <a:pt x="45" y="357"/>
                        </a:lnTo>
                        <a:lnTo>
                          <a:pt x="29" y="372"/>
                        </a:lnTo>
                        <a:lnTo>
                          <a:pt x="17" y="389"/>
                        </a:lnTo>
                        <a:lnTo>
                          <a:pt x="10" y="407"/>
                        </a:lnTo>
                        <a:lnTo>
                          <a:pt x="5" y="424"/>
                        </a:lnTo>
                        <a:lnTo>
                          <a:pt x="1" y="438"/>
                        </a:lnTo>
                        <a:lnTo>
                          <a:pt x="0" y="450"/>
                        </a:lnTo>
                        <a:lnTo>
                          <a:pt x="0" y="457"/>
                        </a:lnTo>
                        <a:lnTo>
                          <a:pt x="0" y="460"/>
                        </a:lnTo>
                        <a:lnTo>
                          <a:pt x="219" y="534"/>
                        </a:lnTo>
                        <a:lnTo>
                          <a:pt x="219" y="453"/>
                        </a:lnTo>
                        <a:lnTo>
                          <a:pt x="507" y="453"/>
                        </a:lnTo>
                        <a:lnTo>
                          <a:pt x="509" y="446"/>
                        </a:lnTo>
                        <a:lnTo>
                          <a:pt x="514" y="427"/>
                        </a:lnTo>
                        <a:lnTo>
                          <a:pt x="519" y="397"/>
                        </a:lnTo>
                        <a:lnTo>
                          <a:pt x="524" y="359"/>
                        </a:lnTo>
                        <a:lnTo>
                          <a:pt x="529" y="314"/>
                        </a:lnTo>
                        <a:lnTo>
                          <a:pt x="531" y="263"/>
                        </a:lnTo>
                        <a:lnTo>
                          <a:pt x="530" y="210"/>
                        </a:lnTo>
                        <a:lnTo>
                          <a:pt x="523"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203" name="Freeform 41"/>
                  <p:cNvSpPr>
                    <a:spLocks/>
                  </p:cNvSpPr>
                  <p:nvPr/>
                </p:nvSpPr>
                <p:spPr bwMode="auto">
                  <a:xfrm>
                    <a:off x="3951" y="2208"/>
                    <a:ext cx="47" cy="42"/>
                  </a:xfrm>
                  <a:custGeom>
                    <a:avLst/>
                    <a:gdLst>
                      <a:gd name="T0" fmla="*/ 0 w 232"/>
                      <a:gd name="T1" fmla="*/ 0 h 209"/>
                      <a:gd name="T2" fmla="*/ 0 w 232"/>
                      <a:gd name="T3" fmla="*/ 0 h 209"/>
                      <a:gd name="T4" fmla="*/ 0 w 232"/>
                      <a:gd name="T5" fmla="*/ 0 h 209"/>
                      <a:gd name="T6" fmla="*/ 0 w 232"/>
                      <a:gd name="T7" fmla="*/ 0 h 209"/>
                      <a:gd name="T8" fmla="*/ 0 w 232"/>
                      <a:gd name="T9" fmla="*/ 0 h 209"/>
                      <a:gd name="T10" fmla="*/ 0 w 232"/>
                      <a:gd name="T11" fmla="*/ 0 h 209"/>
                      <a:gd name="T12" fmla="*/ 0 w 232"/>
                      <a:gd name="T13" fmla="*/ 0 h 209"/>
                      <a:gd name="T14" fmla="*/ 0 w 232"/>
                      <a:gd name="T15" fmla="*/ 0 h 209"/>
                      <a:gd name="T16" fmla="*/ 0 w 232"/>
                      <a:gd name="T17" fmla="*/ 0 h 209"/>
                      <a:gd name="T18" fmla="*/ 0 w 232"/>
                      <a:gd name="T19" fmla="*/ 0 h 209"/>
                      <a:gd name="T20" fmla="*/ 0 w 232"/>
                      <a:gd name="T21" fmla="*/ 0 h 209"/>
                      <a:gd name="T22" fmla="*/ 0 w 232"/>
                      <a:gd name="T23" fmla="*/ 0 h 209"/>
                      <a:gd name="T24" fmla="*/ 0 w 232"/>
                      <a:gd name="T25" fmla="*/ 0 h 209"/>
                      <a:gd name="T26" fmla="*/ 0 w 232"/>
                      <a:gd name="T27" fmla="*/ 0 h 209"/>
                      <a:gd name="T28" fmla="*/ 0 w 232"/>
                      <a:gd name="T29" fmla="*/ 0 h 209"/>
                      <a:gd name="T30" fmla="*/ 0 w 232"/>
                      <a:gd name="T31" fmla="*/ 0 h 209"/>
                      <a:gd name="T32" fmla="*/ 0 w 232"/>
                      <a:gd name="T33" fmla="*/ 0 h 209"/>
                      <a:gd name="T34" fmla="*/ 0 w 232"/>
                      <a:gd name="T35" fmla="*/ 0 h 209"/>
                      <a:gd name="T36" fmla="*/ 0 w 232"/>
                      <a:gd name="T37" fmla="*/ 0 h 209"/>
                      <a:gd name="T38" fmla="*/ 0 w 232"/>
                      <a:gd name="T39" fmla="*/ 0 h 209"/>
                      <a:gd name="T40" fmla="*/ 0 w 232"/>
                      <a:gd name="T41" fmla="*/ 0 h 209"/>
                      <a:gd name="T42" fmla="*/ 0 w 232"/>
                      <a:gd name="T43" fmla="*/ 0 h 209"/>
                      <a:gd name="T44" fmla="*/ 0 w 232"/>
                      <a:gd name="T45" fmla="*/ 0 h 209"/>
                      <a:gd name="T46" fmla="*/ 0 w 232"/>
                      <a:gd name="T47" fmla="*/ 0 h 209"/>
                      <a:gd name="T48" fmla="*/ 0 w 232"/>
                      <a:gd name="T49" fmla="*/ 0 h 209"/>
                      <a:gd name="T50" fmla="*/ 0 w 232"/>
                      <a:gd name="T51" fmla="*/ 0 h 209"/>
                      <a:gd name="T52" fmla="*/ 0 w 232"/>
                      <a:gd name="T53" fmla="*/ 0 h 209"/>
                      <a:gd name="T54" fmla="*/ 0 w 232"/>
                      <a:gd name="T55" fmla="*/ 0 h 2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2"/>
                      <a:gd name="T85" fmla="*/ 0 h 209"/>
                      <a:gd name="T86" fmla="*/ 232 w 232"/>
                      <a:gd name="T87" fmla="*/ 209 h 20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2" h="209">
                        <a:moveTo>
                          <a:pt x="4" y="0"/>
                        </a:moveTo>
                        <a:lnTo>
                          <a:pt x="177" y="59"/>
                        </a:lnTo>
                        <a:lnTo>
                          <a:pt x="179" y="67"/>
                        </a:lnTo>
                        <a:lnTo>
                          <a:pt x="183" y="89"/>
                        </a:lnTo>
                        <a:lnTo>
                          <a:pt x="191" y="117"/>
                        </a:lnTo>
                        <a:lnTo>
                          <a:pt x="200" y="144"/>
                        </a:lnTo>
                        <a:lnTo>
                          <a:pt x="205" y="155"/>
                        </a:lnTo>
                        <a:lnTo>
                          <a:pt x="211" y="167"/>
                        </a:lnTo>
                        <a:lnTo>
                          <a:pt x="216" y="179"/>
                        </a:lnTo>
                        <a:lnTo>
                          <a:pt x="221" y="188"/>
                        </a:lnTo>
                        <a:lnTo>
                          <a:pt x="226" y="196"/>
                        </a:lnTo>
                        <a:lnTo>
                          <a:pt x="229" y="204"/>
                        </a:lnTo>
                        <a:lnTo>
                          <a:pt x="231" y="208"/>
                        </a:lnTo>
                        <a:lnTo>
                          <a:pt x="232" y="209"/>
                        </a:lnTo>
                        <a:lnTo>
                          <a:pt x="0" y="209"/>
                        </a:lnTo>
                        <a:lnTo>
                          <a:pt x="54" y="183"/>
                        </a:lnTo>
                        <a:lnTo>
                          <a:pt x="53" y="181"/>
                        </a:lnTo>
                        <a:lnTo>
                          <a:pt x="50" y="175"/>
                        </a:lnTo>
                        <a:lnTo>
                          <a:pt x="45" y="167"/>
                        </a:lnTo>
                        <a:lnTo>
                          <a:pt x="39" y="155"/>
                        </a:lnTo>
                        <a:lnTo>
                          <a:pt x="33" y="142"/>
                        </a:lnTo>
                        <a:lnTo>
                          <a:pt x="27" y="126"/>
                        </a:lnTo>
                        <a:lnTo>
                          <a:pt x="20" y="109"/>
                        </a:lnTo>
                        <a:lnTo>
                          <a:pt x="16" y="90"/>
                        </a:lnTo>
                        <a:lnTo>
                          <a:pt x="9" y="55"/>
                        </a:lnTo>
                        <a:lnTo>
                          <a:pt x="6" y="26"/>
                        </a:lnTo>
                        <a:lnTo>
                          <a:pt x="4" y="7"/>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grpSp>
            <p:sp>
              <p:nvSpPr>
                <p:cNvPr id="20" name="Rectangle 42"/>
                <p:cNvSpPr>
                  <a:spLocks noChangeArrowheads="1"/>
                </p:cNvSpPr>
                <p:nvPr/>
              </p:nvSpPr>
              <p:spPr bwMode="auto">
                <a:xfrm>
                  <a:off x="3990" y="1322"/>
                  <a:ext cx="954"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21" name="Rectangle 43"/>
                <p:cNvSpPr>
                  <a:spLocks noChangeArrowheads="1"/>
                </p:cNvSpPr>
                <p:nvPr/>
              </p:nvSpPr>
              <p:spPr bwMode="auto">
                <a:xfrm>
                  <a:off x="4033" y="1341"/>
                  <a:ext cx="1111"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1050" b="0">
                      <a:solidFill>
                        <a:srgbClr val="000000"/>
                      </a:solidFill>
                    </a:rPr>
                    <a:t>Sales Representatives</a:t>
                  </a:r>
                </a:p>
              </p:txBody>
            </p:sp>
            <p:sp>
              <p:nvSpPr>
                <p:cNvPr id="22" name="Rectangle 44"/>
                <p:cNvSpPr>
                  <a:spLocks noChangeArrowheads="1"/>
                </p:cNvSpPr>
                <p:nvPr/>
              </p:nvSpPr>
              <p:spPr bwMode="auto">
                <a:xfrm>
                  <a:off x="4211" y="1489"/>
                  <a:ext cx="635"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1050" b="0">
                      <a:solidFill>
                        <a:srgbClr val="000000"/>
                      </a:solidFill>
                    </a:rPr>
                    <a:t>and Analysts</a:t>
                  </a:r>
                </a:p>
              </p:txBody>
            </p:sp>
            <p:sp>
              <p:nvSpPr>
                <p:cNvPr id="23" name="Rectangle 45"/>
                <p:cNvSpPr>
                  <a:spLocks noChangeArrowheads="1"/>
                </p:cNvSpPr>
                <p:nvPr/>
              </p:nvSpPr>
              <p:spPr bwMode="auto">
                <a:xfrm>
                  <a:off x="4220" y="2290"/>
                  <a:ext cx="494"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24" name="Rectangle 46"/>
                <p:cNvSpPr>
                  <a:spLocks noChangeArrowheads="1"/>
                </p:cNvSpPr>
                <p:nvPr/>
              </p:nvSpPr>
              <p:spPr bwMode="auto">
                <a:xfrm>
                  <a:off x="4322" y="2320"/>
                  <a:ext cx="358"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1050" b="0">
                      <a:solidFill>
                        <a:srgbClr val="000000"/>
                      </a:solidFill>
                    </a:rPr>
                    <a:t>Human</a:t>
                  </a:r>
                </a:p>
              </p:txBody>
            </p:sp>
            <p:sp>
              <p:nvSpPr>
                <p:cNvPr id="25" name="Rectangle 47"/>
                <p:cNvSpPr>
                  <a:spLocks noChangeArrowheads="1"/>
                </p:cNvSpPr>
                <p:nvPr/>
              </p:nvSpPr>
              <p:spPr bwMode="auto">
                <a:xfrm>
                  <a:off x="4262" y="2458"/>
                  <a:ext cx="531"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1050" b="0">
                      <a:solidFill>
                        <a:srgbClr val="000000"/>
                      </a:solidFill>
                    </a:rPr>
                    <a:t>Resources</a:t>
                  </a:r>
                </a:p>
              </p:txBody>
            </p:sp>
            <p:sp>
              <p:nvSpPr>
                <p:cNvPr id="26" name="Rectangle 48"/>
                <p:cNvSpPr>
                  <a:spLocks noChangeArrowheads="1"/>
                </p:cNvSpPr>
                <p:nvPr/>
              </p:nvSpPr>
              <p:spPr bwMode="auto">
                <a:xfrm>
                  <a:off x="4041" y="3279"/>
                  <a:ext cx="860" cy="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27" name="Rectangle 49"/>
                <p:cNvSpPr>
                  <a:spLocks noChangeArrowheads="1"/>
                </p:cNvSpPr>
                <p:nvPr/>
              </p:nvSpPr>
              <p:spPr bwMode="auto">
                <a:xfrm>
                  <a:off x="4084" y="3308"/>
                  <a:ext cx="925"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1050" b="0">
                      <a:solidFill>
                        <a:srgbClr val="000000"/>
                      </a:solidFill>
                    </a:rPr>
                    <a:t>Financial Analysts,</a:t>
                  </a:r>
                </a:p>
              </p:txBody>
            </p:sp>
            <p:sp>
              <p:nvSpPr>
                <p:cNvPr id="28" name="Rectangle 50"/>
                <p:cNvSpPr>
                  <a:spLocks noChangeArrowheads="1"/>
                </p:cNvSpPr>
                <p:nvPr/>
              </p:nvSpPr>
              <p:spPr bwMode="auto">
                <a:xfrm>
                  <a:off x="4092" y="3448"/>
                  <a:ext cx="937"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1050" b="0">
                      <a:solidFill>
                        <a:srgbClr val="000000"/>
                      </a:solidFill>
                    </a:rPr>
                    <a:t>Strategic Planners,</a:t>
                  </a:r>
                </a:p>
              </p:txBody>
            </p:sp>
            <p:sp>
              <p:nvSpPr>
                <p:cNvPr id="29" name="Rectangle 51"/>
                <p:cNvSpPr>
                  <a:spLocks noChangeArrowheads="1"/>
                </p:cNvSpPr>
                <p:nvPr/>
              </p:nvSpPr>
              <p:spPr bwMode="auto">
                <a:xfrm>
                  <a:off x="4169" y="3586"/>
                  <a:ext cx="753" cy="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1050" b="0">
                      <a:solidFill>
                        <a:srgbClr val="000000"/>
                      </a:solidFill>
                    </a:rPr>
                    <a:t>and Executives</a:t>
                  </a:r>
                </a:p>
              </p:txBody>
            </p:sp>
            <p:grpSp>
              <p:nvGrpSpPr>
                <p:cNvPr id="30" name="Group 52"/>
                <p:cNvGrpSpPr>
                  <a:grpSpLocks/>
                </p:cNvGrpSpPr>
                <p:nvPr/>
              </p:nvGrpSpPr>
              <p:grpSpPr bwMode="auto">
                <a:xfrm>
                  <a:off x="1044" y="2033"/>
                  <a:ext cx="639" cy="187"/>
                  <a:chOff x="1636" y="2100"/>
                  <a:chExt cx="451" cy="114"/>
                </a:xfrm>
              </p:grpSpPr>
              <p:sp>
                <p:nvSpPr>
                  <p:cNvPr id="193" name="Oval 53"/>
                  <p:cNvSpPr>
                    <a:spLocks noChangeArrowheads="1"/>
                  </p:cNvSpPr>
                  <p:nvPr/>
                </p:nvSpPr>
                <p:spPr bwMode="auto">
                  <a:xfrm>
                    <a:off x="1636" y="2100"/>
                    <a:ext cx="451" cy="114"/>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p>
                </p:txBody>
              </p:sp>
              <p:sp>
                <p:nvSpPr>
                  <p:cNvPr id="194" name="Rectangle 54"/>
                  <p:cNvSpPr>
                    <a:spLocks noChangeArrowheads="1"/>
                  </p:cNvSpPr>
                  <p:nvPr/>
                </p:nvSpPr>
                <p:spPr bwMode="auto">
                  <a:xfrm>
                    <a:off x="1654" y="2118"/>
                    <a:ext cx="383"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825" b="0">
                        <a:solidFill>
                          <a:srgbClr val="000000"/>
                        </a:solidFill>
                      </a:rPr>
                      <a:t>DM Marketing</a:t>
                    </a:r>
                  </a:p>
                </p:txBody>
              </p:sp>
            </p:grpSp>
            <p:grpSp>
              <p:nvGrpSpPr>
                <p:cNvPr id="31" name="Group 55"/>
                <p:cNvGrpSpPr>
                  <a:grpSpLocks/>
                </p:cNvGrpSpPr>
                <p:nvPr/>
              </p:nvGrpSpPr>
              <p:grpSpPr bwMode="auto">
                <a:xfrm>
                  <a:off x="1275" y="2507"/>
                  <a:ext cx="570" cy="158"/>
                  <a:chOff x="1835" y="2346"/>
                  <a:chExt cx="402" cy="96"/>
                </a:xfrm>
              </p:grpSpPr>
              <p:sp>
                <p:nvSpPr>
                  <p:cNvPr id="191" name="Oval 56"/>
                  <p:cNvSpPr>
                    <a:spLocks noChangeArrowheads="1"/>
                  </p:cNvSpPr>
                  <p:nvPr/>
                </p:nvSpPr>
                <p:spPr bwMode="auto">
                  <a:xfrm>
                    <a:off x="1835" y="2346"/>
                    <a:ext cx="402" cy="96"/>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a:lstStyle/>
                  <a:p>
                    <a:endParaRPr lang="en-IN" altLang="en-US" sz="2100" b="1">
                      <a:latin typeface="Arial" panose="020B0604020202020204" pitchFamily="34" charset="0"/>
                    </a:endParaRPr>
                  </a:p>
                </p:txBody>
              </p:sp>
              <p:sp>
                <p:nvSpPr>
                  <p:cNvPr id="192" name="Rectangle 57"/>
                  <p:cNvSpPr>
                    <a:spLocks noChangeArrowheads="1"/>
                  </p:cNvSpPr>
                  <p:nvPr/>
                </p:nvSpPr>
                <p:spPr bwMode="auto">
                  <a:xfrm>
                    <a:off x="1871" y="2358"/>
                    <a:ext cx="332"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825" b="0">
                        <a:solidFill>
                          <a:srgbClr val="000000"/>
                        </a:solidFill>
                      </a:rPr>
                      <a:t>DM Finance</a:t>
                    </a:r>
                  </a:p>
                </p:txBody>
              </p:sp>
            </p:grpSp>
            <p:grpSp>
              <p:nvGrpSpPr>
                <p:cNvPr id="32" name="Group 58"/>
                <p:cNvGrpSpPr>
                  <a:grpSpLocks/>
                </p:cNvGrpSpPr>
                <p:nvPr/>
              </p:nvGrpSpPr>
              <p:grpSpPr bwMode="auto">
                <a:xfrm>
                  <a:off x="1044" y="2290"/>
                  <a:ext cx="486" cy="148"/>
                  <a:chOff x="1588" y="2238"/>
                  <a:chExt cx="343" cy="90"/>
                </a:xfrm>
              </p:grpSpPr>
              <p:sp>
                <p:nvSpPr>
                  <p:cNvPr id="189" name="Oval 59"/>
                  <p:cNvSpPr>
                    <a:spLocks noChangeArrowheads="1"/>
                  </p:cNvSpPr>
                  <p:nvPr/>
                </p:nvSpPr>
                <p:spPr bwMode="auto">
                  <a:xfrm>
                    <a:off x="1588" y="2238"/>
                    <a:ext cx="343" cy="90"/>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p>
                </p:txBody>
              </p:sp>
              <p:sp>
                <p:nvSpPr>
                  <p:cNvPr id="190" name="Rectangle 60"/>
                  <p:cNvSpPr>
                    <a:spLocks noChangeArrowheads="1"/>
                  </p:cNvSpPr>
                  <p:nvPr/>
                </p:nvSpPr>
                <p:spPr bwMode="auto">
                  <a:xfrm>
                    <a:off x="1636" y="2250"/>
                    <a:ext cx="267"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825" b="0">
                        <a:solidFill>
                          <a:srgbClr val="000000"/>
                        </a:solidFill>
                      </a:rPr>
                      <a:t>DM Sales</a:t>
                    </a:r>
                  </a:p>
                </p:txBody>
              </p:sp>
            </p:grpSp>
            <p:grpSp>
              <p:nvGrpSpPr>
                <p:cNvPr id="33" name="Group 61"/>
                <p:cNvGrpSpPr>
                  <a:grpSpLocks/>
                </p:cNvGrpSpPr>
                <p:nvPr/>
              </p:nvGrpSpPr>
              <p:grpSpPr bwMode="auto">
                <a:xfrm>
                  <a:off x="1649" y="2192"/>
                  <a:ext cx="357" cy="167"/>
                  <a:chOff x="1949" y="2160"/>
                  <a:chExt cx="252" cy="102"/>
                </a:xfrm>
              </p:grpSpPr>
              <p:sp>
                <p:nvSpPr>
                  <p:cNvPr id="187" name="Oval 62"/>
                  <p:cNvSpPr>
                    <a:spLocks noChangeArrowheads="1"/>
                  </p:cNvSpPr>
                  <p:nvPr/>
                </p:nvSpPr>
                <p:spPr bwMode="auto">
                  <a:xfrm>
                    <a:off x="1949" y="2160"/>
                    <a:ext cx="252" cy="102"/>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p>
                </p:txBody>
              </p:sp>
              <p:sp>
                <p:nvSpPr>
                  <p:cNvPr id="188" name="Rectangle 63"/>
                  <p:cNvSpPr>
                    <a:spLocks noChangeArrowheads="1"/>
                  </p:cNvSpPr>
                  <p:nvPr/>
                </p:nvSpPr>
                <p:spPr bwMode="auto">
                  <a:xfrm>
                    <a:off x="1979" y="2178"/>
                    <a:ext cx="202"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825" b="0">
                        <a:solidFill>
                          <a:srgbClr val="000000"/>
                        </a:solidFill>
                      </a:rPr>
                      <a:t>DM HR</a:t>
                    </a:r>
                  </a:p>
                </p:txBody>
              </p:sp>
            </p:grpSp>
            <p:grpSp>
              <p:nvGrpSpPr>
                <p:cNvPr id="34" name="Group 64"/>
                <p:cNvGrpSpPr>
                  <a:grpSpLocks/>
                </p:cNvGrpSpPr>
                <p:nvPr/>
              </p:nvGrpSpPr>
              <p:grpSpPr bwMode="auto">
                <a:xfrm>
                  <a:off x="2577" y="2854"/>
                  <a:ext cx="638" cy="573"/>
                  <a:chOff x="2688" y="2617"/>
                  <a:chExt cx="330" cy="312"/>
                </a:xfrm>
              </p:grpSpPr>
              <p:sp>
                <p:nvSpPr>
                  <p:cNvPr id="185" name="Freeform 65"/>
                  <p:cNvSpPr>
                    <a:spLocks/>
                  </p:cNvSpPr>
                  <p:nvPr/>
                </p:nvSpPr>
                <p:spPr bwMode="auto">
                  <a:xfrm>
                    <a:off x="2688" y="2617"/>
                    <a:ext cx="330" cy="312"/>
                  </a:xfrm>
                  <a:custGeom>
                    <a:avLst/>
                    <a:gdLst>
                      <a:gd name="T0" fmla="*/ 28 w 55"/>
                      <a:gd name="T1" fmla="*/ 0 h 52"/>
                      <a:gd name="T2" fmla="*/ 0 w 55"/>
                      <a:gd name="T3" fmla="*/ 8 h 52"/>
                      <a:gd name="T4" fmla="*/ 0 w 55"/>
                      <a:gd name="T5" fmla="*/ 44 h 52"/>
                      <a:gd name="T6" fmla="*/ 28 w 55"/>
                      <a:gd name="T7" fmla="*/ 52 h 52"/>
                      <a:gd name="T8" fmla="*/ 55 w 55"/>
                      <a:gd name="T9" fmla="*/ 44 h 52"/>
                      <a:gd name="T10" fmla="*/ 55 w 55"/>
                      <a:gd name="T11" fmla="*/ 8 h 52"/>
                      <a:gd name="T12" fmla="*/ 28 w 55"/>
                      <a:gd name="T13" fmla="*/ 0 h 52"/>
                      <a:gd name="T14" fmla="*/ 0 60000 65536"/>
                      <a:gd name="T15" fmla="*/ 0 60000 65536"/>
                      <a:gd name="T16" fmla="*/ 0 60000 65536"/>
                      <a:gd name="T17" fmla="*/ 0 60000 65536"/>
                      <a:gd name="T18" fmla="*/ 0 60000 65536"/>
                      <a:gd name="T19" fmla="*/ 0 60000 65536"/>
                      <a:gd name="T20" fmla="*/ 0 60000 65536"/>
                      <a:gd name="T21" fmla="*/ 0 w 55"/>
                      <a:gd name="T22" fmla="*/ 0 h 52"/>
                      <a:gd name="T23" fmla="*/ 55 w 55"/>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2">
                        <a:moveTo>
                          <a:pt x="28" y="0"/>
                        </a:moveTo>
                        <a:cubicBezTo>
                          <a:pt x="13" y="0"/>
                          <a:pt x="0" y="4"/>
                          <a:pt x="0" y="8"/>
                        </a:cubicBezTo>
                        <a:lnTo>
                          <a:pt x="0" y="44"/>
                        </a:lnTo>
                        <a:cubicBezTo>
                          <a:pt x="0" y="48"/>
                          <a:pt x="13" y="52"/>
                          <a:pt x="28" y="52"/>
                        </a:cubicBezTo>
                        <a:cubicBezTo>
                          <a:pt x="43" y="52"/>
                          <a:pt x="55" y="48"/>
                          <a:pt x="55" y="44"/>
                        </a:cubicBezTo>
                        <a:lnTo>
                          <a:pt x="55" y="8"/>
                        </a:lnTo>
                        <a:cubicBezTo>
                          <a:pt x="55" y="4"/>
                          <a:pt x="43" y="0"/>
                          <a:pt x="28" y="0"/>
                        </a:cubicBezTo>
                        <a:close/>
                      </a:path>
                    </a:pathLst>
                  </a:custGeom>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defRPr/>
                    </a:pPr>
                    <a:endParaRPr lang="en-US" sz="1350"/>
                  </a:p>
                </p:txBody>
              </p:sp>
              <p:sp>
                <p:nvSpPr>
                  <p:cNvPr id="186" name="Freeform 66"/>
                  <p:cNvSpPr>
                    <a:spLocks/>
                  </p:cNvSpPr>
                  <p:nvPr/>
                </p:nvSpPr>
                <p:spPr bwMode="auto">
                  <a:xfrm>
                    <a:off x="2688" y="2665"/>
                    <a:ext cx="330" cy="54"/>
                  </a:xfrm>
                  <a:custGeom>
                    <a:avLst/>
                    <a:gdLst>
                      <a:gd name="T0" fmla="*/ 0 w 55"/>
                      <a:gd name="T1" fmla="*/ 0 h 9"/>
                      <a:gd name="T2" fmla="*/ 217728 w 55"/>
                      <a:gd name="T3" fmla="*/ 69984 h 9"/>
                      <a:gd name="T4" fmla="*/ 427680 w 55"/>
                      <a:gd name="T5" fmla="*/ 0 h 9"/>
                      <a:gd name="T6" fmla="*/ 0 60000 65536"/>
                      <a:gd name="T7" fmla="*/ 0 60000 65536"/>
                      <a:gd name="T8" fmla="*/ 0 60000 65536"/>
                      <a:gd name="T9" fmla="*/ 0 w 55"/>
                      <a:gd name="T10" fmla="*/ 0 h 9"/>
                      <a:gd name="T11" fmla="*/ 55 w 55"/>
                      <a:gd name="T12" fmla="*/ 9 h 9"/>
                    </a:gdLst>
                    <a:ahLst/>
                    <a:cxnLst>
                      <a:cxn ang="T6">
                        <a:pos x="T0" y="T1"/>
                      </a:cxn>
                      <a:cxn ang="T7">
                        <a:pos x="T2" y="T3"/>
                      </a:cxn>
                      <a:cxn ang="T8">
                        <a:pos x="T4" y="T5"/>
                      </a:cxn>
                    </a:cxnLst>
                    <a:rect l="T9" t="T10" r="T11" b="T12"/>
                    <a:pathLst>
                      <a:path w="55" h="9">
                        <a:moveTo>
                          <a:pt x="0" y="0"/>
                        </a:moveTo>
                        <a:cubicBezTo>
                          <a:pt x="0" y="5"/>
                          <a:pt x="13" y="9"/>
                          <a:pt x="28" y="9"/>
                        </a:cubicBezTo>
                        <a:cubicBezTo>
                          <a:pt x="43" y="9"/>
                          <a:pt x="55" y="5"/>
                          <a:pt x="55" y="0"/>
                        </a:cubicBez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grpSp>
            <p:grpSp>
              <p:nvGrpSpPr>
                <p:cNvPr id="35" name="Group 67"/>
                <p:cNvGrpSpPr>
                  <a:grpSpLocks/>
                </p:cNvGrpSpPr>
                <p:nvPr/>
              </p:nvGrpSpPr>
              <p:grpSpPr bwMode="auto">
                <a:xfrm>
                  <a:off x="3585" y="3035"/>
                  <a:ext cx="282" cy="467"/>
                  <a:chOff x="3333" y="2691"/>
                  <a:chExt cx="199" cy="284"/>
                </a:xfrm>
              </p:grpSpPr>
              <p:sp>
                <p:nvSpPr>
                  <p:cNvPr id="146" name="Freeform 68"/>
                  <p:cNvSpPr>
                    <a:spLocks/>
                  </p:cNvSpPr>
                  <p:nvPr/>
                </p:nvSpPr>
                <p:spPr bwMode="auto">
                  <a:xfrm>
                    <a:off x="3392" y="2710"/>
                    <a:ext cx="134" cy="5"/>
                  </a:xfrm>
                  <a:custGeom>
                    <a:avLst/>
                    <a:gdLst>
                      <a:gd name="T0" fmla="*/ 0 w 1209"/>
                      <a:gd name="T1" fmla="*/ 0 h 46"/>
                      <a:gd name="T2" fmla="*/ 0 w 1209"/>
                      <a:gd name="T3" fmla="*/ 0 h 46"/>
                      <a:gd name="T4" fmla="*/ 0 w 1209"/>
                      <a:gd name="T5" fmla="*/ 0 h 46"/>
                      <a:gd name="T6" fmla="*/ 0 w 1209"/>
                      <a:gd name="T7" fmla="*/ 0 h 46"/>
                      <a:gd name="T8" fmla="*/ 0 w 1209"/>
                      <a:gd name="T9" fmla="*/ 0 h 46"/>
                      <a:gd name="T10" fmla="*/ 0 60000 65536"/>
                      <a:gd name="T11" fmla="*/ 0 60000 65536"/>
                      <a:gd name="T12" fmla="*/ 0 60000 65536"/>
                      <a:gd name="T13" fmla="*/ 0 60000 65536"/>
                      <a:gd name="T14" fmla="*/ 0 60000 65536"/>
                      <a:gd name="T15" fmla="*/ 0 w 1209"/>
                      <a:gd name="T16" fmla="*/ 0 h 46"/>
                      <a:gd name="T17" fmla="*/ 1209 w 1209"/>
                      <a:gd name="T18" fmla="*/ 46 h 46"/>
                    </a:gdLst>
                    <a:ahLst/>
                    <a:cxnLst>
                      <a:cxn ang="T10">
                        <a:pos x="T0" y="T1"/>
                      </a:cxn>
                      <a:cxn ang="T11">
                        <a:pos x="T2" y="T3"/>
                      </a:cxn>
                      <a:cxn ang="T12">
                        <a:pos x="T4" y="T5"/>
                      </a:cxn>
                      <a:cxn ang="T13">
                        <a:pos x="T6" y="T7"/>
                      </a:cxn>
                      <a:cxn ang="T14">
                        <a:pos x="T8" y="T9"/>
                      </a:cxn>
                    </a:cxnLst>
                    <a:rect l="T15" t="T16" r="T17" b="T18"/>
                    <a:pathLst>
                      <a:path w="1209" h="46">
                        <a:moveTo>
                          <a:pt x="0" y="0"/>
                        </a:moveTo>
                        <a:lnTo>
                          <a:pt x="71" y="46"/>
                        </a:lnTo>
                        <a:lnTo>
                          <a:pt x="1209" y="46"/>
                        </a:lnTo>
                        <a:lnTo>
                          <a:pt x="1173" y="0"/>
                        </a:lnTo>
                        <a:lnTo>
                          <a:pt x="0" y="0"/>
                        </a:lnTo>
                        <a:close/>
                      </a:path>
                    </a:pathLst>
                  </a:custGeom>
                  <a:solidFill>
                    <a:srgbClr val="E0E0E0"/>
                  </a:solidFill>
                  <a:ln w="3175">
                    <a:solidFill>
                      <a:srgbClr val="808080"/>
                    </a:solidFill>
                    <a:prstDash val="solid"/>
                    <a:round/>
                    <a:headEnd/>
                    <a:tailEnd/>
                  </a:ln>
                </p:spPr>
                <p:txBody>
                  <a:bodyPr/>
                  <a:lstStyle/>
                  <a:p>
                    <a:endParaRPr lang="en-US" sz="1350"/>
                  </a:p>
                </p:txBody>
              </p:sp>
              <p:sp>
                <p:nvSpPr>
                  <p:cNvPr id="147" name="Freeform 69"/>
                  <p:cNvSpPr>
                    <a:spLocks/>
                  </p:cNvSpPr>
                  <p:nvPr/>
                </p:nvSpPr>
                <p:spPr bwMode="auto">
                  <a:xfrm>
                    <a:off x="3391" y="2709"/>
                    <a:ext cx="34" cy="266"/>
                  </a:xfrm>
                  <a:custGeom>
                    <a:avLst/>
                    <a:gdLst>
                      <a:gd name="T0" fmla="*/ 0 w 306"/>
                      <a:gd name="T1" fmla="*/ 0 h 2389"/>
                      <a:gd name="T2" fmla="*/ 0 w 306"/>
                      <a:gd name="T3" fmla="*/ 0 h 2389"/>
                      <a:gd name="T4" fmla="*/ 0 w 306"/>
                      <a:gd name="T5" fmla="*/ 0 h 2389"/>
                      <a:gd name="T6" fmla="*/ 0 w 306"/>
                      <a:gd name="T7" fmla="*/ 0 h 2389"/>
                      <a:gd name="T8" fmla="*/ 0 w 306"/>
                      <a:gd name="T9" fmla="*/ 0 h 2389"/>
                      <a:gd name="T10" fmla="*/ 0 w 306"/>
                      <a:gd name="T11" fmla="*/ 0 h 2389"/>
                      <a:gd name="T12" fmla="*/ 0 w 306"/>
                      <a:gd name="T13" fmla="*/ 0 h 2389"/>
                      <a:gd name="T14" fmla="*/ 0 60000 65536"/>
                      <a:gd name="T15" fmla="*/ 0 60000 65536"/>
                      <a:gd name="T16" fmla="*/ 0 60000 65536"/>
                      <a:gd name="T17" fmla="*/ 0 60000 65536"/>
                      <a:gd name="T18" fmla="*/ 0 60000 65536"/>
                      <a:gd name="T19" fmla="*/ 0 60000 65536"/>
                      <a:gd name="T20" fmla="*/ 0 60000 65536"/>
                      <a:gd name="T21" fmla="*/ 0 w 306"/>
                      <a:gd name="T22" fmla="*/ 0 h 2389"/>
                      <a:gd name="T23" fmla="*/ 306 w 306"/>
                      <a:gd name="T24" fmla="*/ 2389 h 23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6" h="2389">
                        <a:moveTo>
                          <a:pt x="0" y="2308"/>
                        </a:moveTo>
                        <a:lnTo>
                          <a:pt x="63" y="2389"/>
                        </a:lnTo>
                        <a:lnTo>
                          <a:pt x="306" y="794"/>
                        </a:lnTo>
                        <a:lnTo>
                          <a:pt x="78" y="48"/>
                        </a:lnTo>
                        <a:lnTo>
                          <a:pt x="2" y="0"/>
                        </a:lnTo>
                        <a:lnTo>
                          <a:pt x="0" y="872"/>
                        </a:lnTo>
                        <a:lnTo>
                          <a:pt x="0" y="2308"/>
                        </a:lnTo>
                        <a:close/>
                      </a:path>
                    </a:pathLst>
                  </a:custGeom>
                  <a:solidFill>
                    <a:srgbClr val="A0A0A0"/>
                  </a:solidFill>
                  <a:ln w="3175">
                    <a:solidFill>
                      <a:srgbClr val="808080"/>
                    </a:solidFill>
                    <a:prstDash val="solid"/>
                    <a:round/>
                    <a:headEnd/>
                    <a:tailEnd/>
                  </a:ln>
                </p:spPr>
                <p:txBody>
                  <a:bodyPr/>
                  <a:lstStyle/>
                  <a:p>
                    <a:endParaRPr lang="en-US" sz="1350"/>
                  </a:p>
                </p:txBody>
              </p:sp>
              <p:sp>
                <p:nvSpPr>
                  <p:cNvPr id="148" name="Freeform 70"/>
                  <p:cNvSpPr>
                    <a:spLocks/>
                  </p:cNvSpPr>
                  <p:nvPr/>
                </p:nvSpPr>
                <p:spPr bwMode="auto">
                  <a:xfrm>
                    <a:off x="3333" y="2691"/>
                    <a:ext cx="59" cy="275"/>
                  </a:xfrm>
                  <a:custGeom>
                    <a:avLst/>
                    <a:gdLst>
                      <a:gd name="T0" fmla="*/ 0 w 532"/>
                      <a:gd name="T1" fmla="*/ 0 h 2468"/>
                      <a:gd name="T2" fmla="*/ 0 w 532"/>
                      <a:gd name="T3" fmla="*/ 0 h 2468"/>
                      <a:gd name="T4" fmla="*/ 0 w 532"/>
                      <a:gd name="T5" fmla="*/ 0 h 2468"/>
                      <a:gd name="T6" fmla="*/ 0 w 532"/>
                      <a:gd name="T7" fmla="*/ 0 h 2468"/>
                      <a:gd name="T8" fmla="*/ 0 w 532"/>
                      <a:gd name="T9" fmla="*/ 0 h 2468"/>
                      <a:gd name="T10" fmla="*/ 0 60000 65536"/>
                      <a:gd name="T11" fmla="*/ 0 60000 65536"/>
                      <a:gd name="T12" fmla="*/ 0 60000 65536"/>
                      <a:gd name="T13" fmla="*/ 0 60000 65536"/>
                      <a:gd name="T14" fmla="*/ 0 60000 65536"/>
                      <a:gd name="T15" fmla="*/ 0 w 532"/>
                      <a:gd name="T16" fmla="*/ 0 h 2468"/>
                      <a:gd name="T17" fmla="*/ 532 w 532"/>
                      <a:gd name="T18" fmla="*/ 2468 h 2468"/>
                    </a:gdLst>
                    <a:ahLst/>
                    <a:cxnLst>
                      <a:cxn ang="T10">
                        <a:pos x="T0" y="T1"/>
                      </a:cxn>
                      <a:cxn ang="T11">
                        <a:pos x="T2" y="T3"/>
                      </a:cxn>
                      <a:cxn ang="T12">
                        <a:pos x="T4" y="T5"/>
                      </a:cxn>
                      <a:cxn ang="T13">
                        <a:pos x="T6" y="T7"/>
                      </a:cxn>
                      <a:cxn ang="T14">
                        <a:pos x="T8" y="T9"/>
                      </a:cxn>
                    </a:cxnLst>
                    <a:rect l="T15" t="T16" r="T17" b="T18"/>
                    <a:pathLst>
                      <a:path w="532" h="2468">
                        <a:moveTo>
                          <a:pt x="0" y="0"/>
                        </a:moveTo>
                        <a:lnTo>
                          <a:pt x="532" y="161"/>
                        </a:lnTo>
                        <a:lnTo>
                          <a:pt x="532" y="2468"/>
                        </a:lnTo>
                        <a:lnTo>
                          <a:pt x="0" y="1880"/>
                        </a:lnTo>
                        <a:lnTo>
                          <a:pt x="0" y="0"/>
                        </a:lnTo>
                        <a:close/>
                      </a:path>
                    </a:pathLst>
                  </a:custGeom>
                  <a:solidFill>
                    <a:srgbClr val="A0A0A0"/>
                  </a:solidFill>
                  <a:ln w="3175">
                    <a:solidFill>
                      <a:srgbClr val="808080"/>
                    </a:solidFill>
                    <a:prstDash val="solid"/>
                    <a:round/>
                    <a:headEnd/>
                    <a:tailEnd/>
                  </a:ln>
                </p:spPr>
                <p:txBody>
                  <a:bodyPr/>
                  <a:lstStyle/>
                  <a:p>
                    <a:endParaRPr lang="en-US" sz="1350"/>
                  </a:p>
                </p:txBody>
              </p:sp>
              <p:sp>
                <p:nvSpPr>
                  <p:cNvPr id="149" name="Freeform 71"/>
                  <p:cNvSpPr>
                    <a:spLocks/>
                  </p:cNvSpPr>
                  <p:nvPr/>
                </p:nvSpPr>
                <p:spPr bwMode="auto">
                  <a:xfrm>
                    <a:off x="3333" y="2691"/>
                    <a:ext cx="189" cy="19"/>
                  </a:xfrm>
                  <a:custGeom>
                    <a:avLst/>
                    <a:gdLst>
                      <a:gd name="T0" fmla="*/ 0 w 1705"/>
                      <a:gd name="T1" fmla="*/ 0 h 170"/>
                      <a:gd name="T2" fmla="*/ 0 w 1705"/>
                      <a:gd name="T3" fmla="*/ 0 h 170"/>
                      <a:gd name="T4" fmla="*/ 0 w 1705"/>
                      <a:gd name="T5" fmla="*/ 0 h 170"/>
                      <a:gd name="T6" fmla="*/ 0 w 1705"/>
                      <a:gd name="T7" fmla="*/ 0 h 170"/>
                      <a:gd name="T8" fmla="*/ 0 w 1705"/>
                      <a:gd name="T9" fmla="*/ 0 h 170"/>
                      <a:gd name="T10" fmla="*/ 0 60000 65536"/>
                      <a:gd name="T11" fmla="*/ 0 60000 65536"/>
                      <a:gd name="T12" fmla="*/ 0 60000 65536"/>
                      <a:gd name="T13" fmla="*/ 0 60000 65536"/>
                      <a:gd name="T14" fmla="*/ 0 60000 65536"/>
                      <a:gd name="T15" fmla="*/ 0 w 1705"/>
                      <a:gd name="T16" fmla="*/ 0 h 170"/>
                      <a:gd name="T17" fmla="*/ 1705 w 1705"/>
                      <a:gd name="T18" fmla="*/ 170 h 170"/>
                    </a:gdLst>
                    <a:ahLst/>
                    <a:cxnLst>
                      <a:cxn ang="T10">
                        <a:pos x="T0" y="T1"/>
                      </a:cxn>
                      <a:cxn ang="T11">
                        <a:pos x="T2" y="T3"/>
                      </a:cxn>
                      <a:cxn ang="T12">
                        <a:pos x="T4" y="T5"/>
                      </a:cxn>
                      <a:cxn ang="T13">
                        <a:pos x="T6" y="T7"/>
                      </a:cxn>
                      <a:cxn ang="T14">
                        <a:pos x="T8" y="T9"/>
                      </a:cxn>
                    </a:cxnLst>
                    <a:rect l="T15" t="T16" r="T17" b="T18"/>
                    <a:pathLst>
                      <a:path w="1705" h="170">
                        <a:moveTo>
                          <a:pt x="533" y="170"/>
                        </a:moveTo>
                        <a:lnTo>
                          <a:pt x="1705" y="170"/>
                        </a:lnTo>
                        <a:lnTo>
                          <a:pt x="883" y="0"/>
                        </a:lnTo>
                        <a:lnTo>
                          <a:pt x="0" y="0"/>
                        </a:lnTo>
                        <a:lnTo>
                          <a:pt x="533" y="170"/>
                        </a:lnTo>
                        <a:close/>
                      </a:path>
                    </a:pathLst>
                  </a:custGeom>
                  <a:solidFill>
                    <a:srgbClr val="E0E0E0"/>
                  </a:solidFill>
                  <a:ln w="3175">
                    <a:solidFill>
                      <a:srgbClr val="808080"/>
                    </a:solidFill>
                    <a:prstDash val="solid"/>
                    <a:round/>
                    <a:headEnd/>
                    <a:tailEnd/>
                  </a:ln>
                </p:spPr>
                <p:txBody>
                  <a:bodyPr/>
                  <a:lstStyle/>
                  <a:p>
                    <a:endParaRPr lang="en-US" sz="1350"/>
                  </a:p>
                </p:txBody>
              </p:sp>
              <p:sp>
                <p:nvSpPr>
                  <p:cNvPr id="150" name="Rectangle 72"/>
                  <p:cNvSpPr>
                    <a:spLocks noChangeArrowheads="1"/>
                  </p:cNvSpPr>
                  <p:nvPr/>
                </p:nvSpPr>
                <p:spPr bwMode="auto">
                  <a:xfrm>
                    <a:off x="3399" y="2809"/>
                    <a:ext cx="122" cy="165"/>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51" name="Freeform 73"/>
                  <p:cNvSpPr>
                    <a:spLocks/>
                  </p:cNvSpPr>
                  <p:nvPr/>
                </p:nvSpPr>
                <p:spPr bwMode="auto">
                  <a:xfrm>
                    <a:off x="3399" y="2715"/>
                    <a:ext cx="133" cy="83"/>
                  </a:xfrm>
                  <a:custGeom>
                    <a:avLst/>
                    <a:gdLst>
                      <a:gd name="T0" fmla="*/ 0 w 1190"/>
                      <a:gd name="T1" fmla="*/ 0 h 751"/>
                      <a:gd name="T2" fmla="*/ 0 w 1190"/>
                      <a:gd name="T3" fmla="*/ 0 h 751"/>
                      <a:gd name="T4" fmla="*/ 0 w 1190"/>
                      <a:gd name="T5" fmla="*/ 0 h 751"/>
                      <a:gd name="T6" fmla="*/ 0 w 1190"/>
                      <a:gd name="T7" fmla="*/ 0 h 751"/>
                      <a:gd name="T8" fmla="*/ 0 w 1190"/>
                      <a:gd name="T9" fmla="*/ 0 h 751"/>
                      <a:gd name="T10" fmla="*/ 0 60000 65536"/>
                      <a:gd name="T11" fmla="*/ 0 60000 65536"/>
                      <a:gd name="T12" fmla="*/ 0 60000 65536"/>
                      <a:gd name="T13" fmla="*/ 0 60000 65536"/>
                      <a:gd name="T14" fmla="*/ 0 60000 65536"/>
                      <a:gd name="T15" fmla="*/ 0 w 1190"/>
                      <a:gd name="T16" fmla="*/ 0 h 751"/>
                      <a:gd name="T17" fmla="*/ 1190 w 1190"/>
                      <a:gd name="T18" fmla="*/ 751 h 751"/>
                    </a:gdLst>
                    <a:ahLst/>
                    <a:cxnLst>
                      <a:cxn ang="T10">
                        <a:pos x="T0" y="T1"/>
                      </a:cxn>
                      <a:cxn ang="T11">
                        <a:pos x="T2" y="T3"/>
                      </a:cxn>
                      <a:cxn ang="T12">
                        <a:pos x="T4" y="T5"/>
                      </a:cxn>
                      <a:cxn ang="T13">
                        <a:pos x="T6" y="T7"/>
                      </a:cxn>
                      <a:cxn ang="T14">
                        <a:pos x="T8" y="T9"/>
                      </a:cxn>
                    </a:cxnLst>
                    <a:rect l="T15" t="T16" r="T17" b="T18"/>
                    <a:pathLst>
                      <a:path w="1190" h="751">
                        <a:moveTo>
                          <a:pt x="0" y="0"/>
                        </a:moveTo>
                        <a:lnTo>
                          <a:pt x="1136" y="0"/>
                        </a:lnTo>
                        <a:lnTo>
                          <a:pt x="1190" y="751"/>
                        </a:lnTo>
                        <a:lnTo>
                          <a:pt x="49" y="751"/>
                        </a:lnTo>
                        <a:lnTo>
                          <a:pt x="0" y="0"/>
                        </a:lnTo>
                        <a:close/>
                      </a:path>
                    </a:pathLst>
                  </a:custGeom>
                  <a:solidFill>
                    <a:srgbClr val="C0C0C0"/>
                  </a:solidFill>
                  <a:ln w="3175">
                    <a:solidFill>
                      <a:srgbClr val="808080"/>
                    </a:solidFill>
                    <a:prstDash val="solid"/>
                    <a:round/>
                    <a:headEnd/>
                    <a:tailEnd/>
                  </a:ln>
                </p:spPr>
                <p:txBody>
                  <a:bodyPr/>
                  <a:lstStyle/>
                  <a:p>
                    <a:endParaRPr lang="en-US" sz="1350"/>
                  </a:p>
                </p:txBody>
              </p:sp>
              <p:sp>
                <p:nvSpPr>
                  <p:cNvPr id="152" name="Freeform 74"/>
                  <p:cNvSpPr>
                    <a:spLocks/>
                  </p:cNvSpPr>
                  <p:nvPr/>
                </p:nvSpPr>
                <p:spPr bwMode="auto">
                  <a:xfrm>
                    <a:off x="3398" y="2798"/>
                    <a:ext cx="134" cy="10"/>
                  </a:xfrm>
                  <a:custGeom>
                    <a:avLst/>
                    <a:gdLst>
                      <a:gd name="T0" fmla="*/ 0 w 1204"/>
                      <a:gd name="T1" fmla="*/ 0 h 90"/>
                      <a:gd name="T2" fmla="*/ 0 w 1204"/>
                      <a:gd name="T3" fmla="*/ 0 h 90"/>
                      <a:gd name="T4" fmla="*/ 0 w 1204"/>
                      <a:gd name="T5" fmla="*/ 0 h 90"/>
                      <a:gd name="T6" fmla="*/ 0 w 1204"/>
                      <a:gd name="T7" fmla="*/ 0 h 90"/>
                      <a:gd name="T8" fmla="*/ 0 w 1204"/>
                      <a:gd name="T9" fmla="*/ 0 h 90"/>
                      <a:gd name="T10" fmla="*/ 0 60000 65536"/>
                      <a:gd name="T11" fmla="*/ 0 60000 65536"/>
                      <a:gd name="T12" fmla="*/ 0 60000 65536"/>
                      <a:gd name="T13" fmla="*/ 0 60000 65536"/>
                      <a:gd name="T14" fmla="*/ 0 60000 65536"/>
                      <a:gd name="T15" fmla="*/ 0 w 1204"/>
                      <a:gd name="T16" fmla="*/ 0 h 90"/>
                      <a:gd name="T17" fmla="*/ 1204 w 1204"/>
                      <a:gd name="T18" fmla="*/ 90 h 90"/>
                    </a:gdLst>
                    <a:ahLst/>
                    <a:cxnLst>
                      <a:cxn ang="T10">
                        <a:pos x="T0" y="T1"/>
                      </a:cxn>
                      <a:cxn ang="T11">
                        <a:pos x="T2" y="T3"/>
                      </a:cxn>
                      <a:cxn ang="T12">
                        <a:pos x="T4" y="T5"/>
                      </a:cxn>
                      <a:cxn ang="T13">
                        <a:pos x="T6" y="T7"/>
                      </a:cxn>
                      <a:cxn ang="T14">
                        <a:pos x="T8" y="T9"/>
                      </a:cxn>
                    </a:cxnLst>
                    <a:rect l="T15" t="T16" r="T17" b="T18"/>
                    <a:pathLst>
                      <a:path w="1204" h="90">
                        <a:moveTo>
                          <a:pt x="0" y="90"/>
                        </a:moveTo>
                        <a:lnTo>
                          <a:pt x="1112" y="90"/>
                        </a:lnTo>
                        <a:lnTo>
                          <a:pt x="1204" y="0"/>
                        </a:lnTo>
                        <a:lnTo>
                          <a:pt x="61" y="0"/>
                        </a:lnTo>
                        <a:lnTo>
                          <a:pt x="0" y="90"/>
                        </a:lnTo>
                        <a:close/>
                      </a:path>
                    </a:pathLst>
                  </a:custGeom>
                  <a:solidFill>
                    <a:srgbClr val="A0A0A0"/>
                  </a:solidFill>
                  <a:ln w="3175">
                    <a:solidFill>
                      <a:srgbClr val="808080"/>
                    </a:solidFill>
                    <a:prstDash val="solid"/>
                    <a:round/>
                    <a:headEnd/>
                    <a:tailEnd/>
                  </a:ln>
                </p:spPr>
                <p:txBody>
                  <a:bodyPr/>
                  <a:lstStyle/>
                  <a:p>
                    <a:endParaRPr lang="en-US" sz="1350"/>
                  </a:p>
                </p:txBody>
              </p:sp>
              <p:sp>
                <p:nvSpPr>
                  <p:cNvPr id="153" name="Freeform 75"/>
                  <p:cNvSpPr>
                    <a:spLocks/>
                  </p:cNvSpPr>
                  <p:nvPr/>
                </p:nvSpPr>
                <p:spPr bwMode="auto">
                  <a:xfrm>
                    <a:off x="3400" y="2710"/>
                    <a:ext cx="11" cy="265"/>
                  </a:xfrm>
                  <a:custGeom>
                    <a:avLst/>
                    <a:gdLst>
                      <a:gd name="T0" fmla="*/ 0 w 100"/>
                      <a:gd name="T1" fmla="*/ 0 h 2383"/>
                      <a:gd name="T2" fmla="*/ 0 w 100"/>
                      <a:gd name="T3" fmla="*/ 0 h 2383"/>
                      <a:gd name="T4" fmla="*/ 0 w 100"/>
                      <a:gd name="T5" fmla="*/ 0 h 2383"/>
                      <a:gd name="T6" fmla="*/ 0 w 100"/>
                      <a:gd name="T7" fmla="*/ 0 h 2383"/>
                      <a:gd name="T8" fmla="*/ 0 w 100"/>
                      <a:gd name="T9" fmla="*/ 0 h 2383"/>
                      <a:gd name="T10" fmla="*/ 0 60000 65536"/>
                      <a:gd name="T11" fmla="*/ 0 60000 65536"/>
                      <a:gd name="T12" fmla="*/ 0 60000 65536"/>
                      <a:gd name="T13" fmla="*/ 0 60000 65536"/>
                      <a:gd name="T14" fmla="*/ 0 60000 65536"/>
                      <a:gd name="T15" fmla="*/ 0 w 100"/>
                      <a:gd name="T16" fmla="*/ 0 h 2383"/>
                      <a:gd name="T17" fmla="*/ 100 w 100"/>
                      <a:gd name="T18" fmla="*/ 2383 h 2383"/>
                    </a:gdLst>
                    <a:ahLst/>
                    <a:cxnLst>
                      <a:cxn ang="T10">
                        <a:pos x="T0" y="T1"/>
                      </a:cxn>
                      <a:cxn ang="T11">
                        <a:pos x="T2" y="T3"/>
                      </a:cxn>
                      <a:cxn ang="T12">
                        <a:pos x="T4" y="T5"/>
                      </a:cxn>
                      <a:cxn ang="T13">
                        <a:pos x="T6" y="T7"/>
                      </a:cxn>
                      <a:cxn ang="T14">
                        <a:pos x="T8" y="T9"/>
                      </a:cxn>
                    </a:cxnLst>
                    <a:rect l="T15" t="T16" r="T17" b="T18"/>
                    <a:pathLst>
                      <a:path w="100" h="2383">
                        <a:moveTo>
                          <a:pt x="0" y="0"/>
                        </a:moveTo>
                        <a:lnTo>
                          <a:pt x="51" y="40"/>
                        </a:lnTo>
                        <a:lnTo>
                          <a:pt x="100" y="800"/>
                        </a:lnTo>
                        <a:lnTo>
                          <a:pt x="49" y="886"/>
                        </a:lnTo>
                        <a:lnTo>
                          <a:pt x="47" y="2383"/>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54" name="Freeform 76"/>
                  <p:cNvSpPr>
                    <a:spLocks/>
                  </p:cNvSpPr>
                  <p:nvPr/>
                </p:nvSpPr>
                <p:spPr bwMode="auto">
                  <a:xfrm>
                    <a:off x="3404" y="2710"/>
                    <a:ext cx="10" cy="265"/>
                  </a:xfrm>
                  <a:custGeom>
                    <a:avLst/>
                    <a:gdLst>
                      <a:gd name="T0" fmla="*/ 0 w 94"/>
                      <a:gd name="T1" fmla="*/ 0 h 2383"/>
                      <a:gd name="T2" fmla="*/ 0 w 94"/>
                      <a:gd name="T3" fmla="*/ 0 h 2383"/>
                      <a:gd name="T4" fmla="*/ 0 w 94"/>
                      <a:gd name="T5" fmla="*/ 0 h 2383"/>
                      <a:gd name="T6" fmla="*/ 0 w 94"/>
                      <a:gd name="T7" fmla="*/ 0 h 2383"/>
                      <a:gd name="T8" fmla="*/ 0 w 94"/>
                      <a:gd name="T9" fmla="*/ 0 h 2383"/>
                      <a:gd name="T10" fmla="*/ 0 60000 65536"/>
                      <a:gd name="T11" fmla="*/ 0 60000 65536"/>
                      <a:gd name="T12" fmla="*/ 0 60000 65536"/>
                      <a:gd name="T13" fmla="*/ 0 60000 65536"/>
                      <a:gd name="T14" fmla="*/ 0 60000 65536"/>
                      <a:gd name="T15" fmla="*/ 0 w 94"/>
                      <a:gd name="T16" fmla="*/ 0 h 2383"/>
                      <a:gd name="T17" fmla="*/ 94 w 94"/>
                      <a:gd name="T18" fmla="*/ 2383 h 2383"/>
                    </a:gdLst>
                    <a:ahLst/>
                    <a:cxnLst>
                      <a:cxn ang="T10">
                        <a:pos x="T0" y="T1"/>
                      </a:cxn>
                      <a:cxn ang="T11">
                        <a:pos x="T2" y="T3"/>
                      </a:cxn>
                      <a:cxn ang="T12">
                        <a:pos x="T4" y="T5"/>
                      </a:cxn>
                      <a:cxn ang="T13">
                        <a:pos x="T6" y="T7"/>
                      </a:cxn>
                      <a:cxn ang="T14">
                        <a:pos x="T8" y="T9"/>
                      </a:cxn>
                    </a:cxnLst>
                    <a:rect l="T15" t="T16" r="T17" b="T18"/>
                    <a:pathLst>
                      <a:path w="94" h="2383">
                        <a:moveTo>
                          <a:pt x="0" y="0"/>
                        </a:moveTo>
                        <a:lnTo>
                          <a:pt x="45" y="40"/>
                        </a:lnTo>
                        <a:lnTo>
                          <a:pt x="94" y="799"/>
                        </a:lnTo>
                        <a:lnTo>
                          <a:pt x="44" y="885"/>
                        </a:lnTo>
                        <a:lnTo>
                          <a:pt x="42" y="2383"/>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55" name="Freeform 77"/>
                  <p:cNvSpPr>
                    <a:spLocks/>
                  </p:cNvSpPr>
                  <p:nvPr/>
                </p:nvSpPr>
                <p:spPr bwMode="auto">
                  <a:xfrm>
                    <a:off x="3407" y="2710"/>
                    <a:ext cx="11" cy="265"/>
                  </a:xfrm>
                  <a:custGeom>
                    <a:avLst/>
                    <a:gdLst>
                      <a:gd name="T0" fmla="*/ 0 w 100"/>
                      <a:gd name="T1" fmla="*/ 0 h 2383"/>
                      <a:gd name="T2" fmla="*/ 0 w 100"/>
                      <a:gd name="T3" fmla="*/ 0 h 2383"/>
                      <a:gd name="T4" fmla="*/ 0 w 100"/>
                      <a:gd name="T5" fmla="*/ 0 h 2383"/>
                      <a:gd name="T6" fmla="*/ 0 w 100"/>
                      <a:gd name="T7" fmla="*/ 0 h 2383"/>
                      <a:gd name="T8" fmla="*/ 0 w 100"/>
                      <a:gd name="T9" fmla="*/ 0 h 2383"/>
                      <a:gd name="T10" fmla="*/ 0 60000 65536"/>
                      <a:gd name="T11" fmla="*/ 0 60000 65536"/>
                      <a:gd name="T12" fmla="*/ 0 60000 65536"/>
                      <a:gd name="T13" fmla="*/ 0 60000 65536"/>
                      <a:gd name="T14" fmla="*/ 0 60000 65536"/>
                      <a:gd name="T15" fmla="*/ 0 w 100"/>
                      <a:gd name="T16" fmla="*/ 0 h 2383"/>
                      <a:gd name="T17" fmla="*/ 100 w 100"/>
                      <a:gd name="T18" fmla="*/ 2383 h 2383"/>
                    </a:gdLst>
                    <a:ahLst/>
                    <a:cxnLst>
                      <a:cxn ang="T10">
                        <a:pos x="T0" y="T1"/>
                      </a:cxn>
                      <a:cxn ang="T11">
                        <a:pos x="T2" y="T3"/>
                      </a:cxn>
                      <a:cxn ang="T12">
                        <a:pos x="T4" y="T5"/>
                      </a:cxn>
                      <a:cxn ang="T13">
                        <a:pos x="T6" y="T7"/>
                      </a:cxn>
                      <a:cxn ang="T14">
                        <a:pos x="T8" y="T9"/>
                      </a:cxn>
                    </a:cxnLst>
                    <a:rect l="T15" t="T16" r="T17" b="T18"/>
                    <a:pathLst>
                      <a:path w="100" h="2383">
                        <a:moveTo>
                          <a:pt x="0" y="0"/>
                        </a:moveTo>
                        <a:lnTo>
                          <a:pt x="49" y="40"/>
                        </a:lnTo>
                        <a:lnTo>
                          <a:pt x="100" y="793"/>
                        </a:lnTo>
                        <a:lnTo>
                          <a:pt x="46" y="878"/>
                        </a:lnTo>
                        <a:lnTo>
                          <a:pt x="46" y="2383"/>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56" name="Freeform 78"/>
                  <p:cNvSpPr>
                    <a:spLocks/>
                  </p:cNvSpPr>
                  <p:nvPr/>
                </p:nvSpPr>
                <p:spPr bwMode="auto">
                  <a:xfrm>
                    <a:off x="3411" y="2710"/>
                    <a:ext cx="11" cy="264"/>
                  </a:xfrm>
                  <a:custGeom>
                    <a:avLst/>
                    <a:gdLst>
                      <a:gd name="T0" fmla="*/ 0 w 95"/>
                      <a:gd name="T1" fmla="*/ 0 h 2377"/>
                      <a:gd name="T2" fmla="*/ 0 w 95"/>
                      <a:gd name="T3" fmla="*/ 0 h 2377"/>
                      <a:gd name="T4" fmla="*/ 0 w 95"/>
                      <a:gd name="T5" fmla="*/ 0 h 2377"/>
                      <a:gd name="T6" fmla="*/ 0 w 95"/>
                      <a:gd name="T7" fmla="*/ 0 h 2377"/>
                      <a:gd name="T8" fmla="*/ 0 w 95"/>
                      <a:gd name="T9" fmla="*/ 0 h 2377"/>
                      <a:gd name="T10" fmla="*/ 0 60000 65536"/>
                      <a:gd name="T11" fmla="*/ 0 60000 65536"/>
                      <a:gd name="T12" fmla="*/ 0 60000 65536"/>
                      <a:gd name="T13" fmla="*/ 0 60000 65536"/>
                      <a:gd name="T14" fmla="*/ 0 60000 65536"/>
                      <a:gd name="T15" fmla="*/ 0 w 95"/>
                      <a:gd name="T16" fmla="*/ 0 h 2377"/>
                      <a:gd name="T17" fmla="*/ 95 w 95"/>
                      <a:gd name="T18" fmla="*/ 2377 h 2377"/>
                    </a:gdLst>
                    <a:ahLst/>
                    <a:cxnLst>
                      <a:cxn ang="T10">
                        <a:pos x="T0" y="T1"/>
                      </a:cxn>
                      <a:cxn ang="T11">
                        <a:pos x="T2" y="T3"/>
                      </a:cxn>
                      <a:cxn ang="T12">
                        <a:pos x="T4" y="T5"/>
                      </a:cxn>
                      <a:cxn ang="T13">
                        <a:pos x="T6" y="T7"/>
                      </a:cxn>
                      <a:cxn ang="T14">
                        <a:pos x="T8" y="T9"/>
                      </a:cxn>
                    </a:cxnLst>
                    <a:rect l="T15" t="T16" r="T17" b="T18"/>
                    <a:pathLst>
                      <a:path w="95" h="2377">
                        <a:moveTo>
                          <a:pt x="0" y="0"/>
                        </a:moveTo>
                        <a:lnTo>
                          <a:pt x="46" y="35"/>
                        </a:lnTo>
                        <a:lnTo>
                          <a:pt x="95" y="793"/>
                        </a:lnTo>
                        <a:lnTo>
                          <a:pt x="44" y="880"/>
                        </a:lnTo>
                        <a:lnTo>
                          <a:pt x="42" y="2377"/>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57" name="Freeform 79"/>
                  <p:cNvSpPr>
                    <a:spLocks/>
                  </p:cNvSpPr>
                  <p:nvPr/>
                </p:nvSpPr>
                <p:spPr bwMode="auto">
                  <a:xfrm>
                    <a:off x="3415" y="2710"/>
                    <a:ext cx="11" cy="264"/>
                  </a:xfrm>
                  <a:custGeom>
                    <a:avLst/>
                    <a:gdLst>
                      <a:gd name="T0" fmla="*/ 0 w 95"/>
                      <a:gd name="T1" fmla="*/ 0 h 2375"/>
                      <a:gd name="T2" fmla="*/ 0 w 95"/>
                      <a:gd name="T3" fmla="*/ 0 h 2375"/>
                      <a:gd name="T4" fmla="*/ 0 w 95"/>
                      <a:gd name="T5" fmla="*/ 0 h 2375"/>
                      <a:gd name="T6" fmla="*/ 0 w 95"/>
                      <a:gd name="T7" fmla="*/ 0 h 2375"/>
                      <a:gd name="T8" fmla="*/ 0 w 95"/>
                      <a:gd name="T9" fmla="*/ 0 h 2375"/>
                      <a:gd name="T10" fmla="*/ 0 60000 65536"/>
                      <a:gd name="T11" fmla="*/ 0 60000 65536"/>
                      <a:gd name="T12" fmla="*/ 0 60000 65536"/>
                      <a:gd name="T13" fmla="*/ 0 60000 65536"/>
                      <a:gd name="T14" fmla="*/ 0 60000 65536"/>
                      <a:gd name="T15" fmla="*/ 0 w 95"/>
                      <a:gd name="T16" fmla="*/ 0 h 2375"/>
                      <a:gd name="T17" fmla="*/ 95 w 95"/>
                      <a:gd name="T18" fmla="*/ 2375 h 2375"/>
                    </a:gdLst>
                    <a:ahLst/>
                    <a:cxnLst>
                      <a:cxn ang="T10">
                        <a:pos x="T0" y="T1"/>
                      </a:cxn>
                      <a:cxn ang="T11">
                        <a:pos x="T2" y="T3"/>
                      </a:cxn>
                      <a:cxn ang="T12">
                        <a:pos x="T4" y="T5"/>
                      </a:cxn>
                      <a:cxn ang="T13">
                        <a:pos x="T6" y="T7"/>
                      </a:cxn>
                      <a:cxn ang="T14">
                        <a:pos x="T8" y="T9"/>
                      </a:cxn>
                    </a:cxnLst>
                    <a:rect l="T15" t="T16" r="T17" b="T18"/>
                    <a:pathLst>
                      <a:path w="95" h="2375">
                        <a:moveTo>
                          <a:pt x="0" y="0"/>
                        </a:moveTo>
                        <a:lnTo>
                          <a:pt x="46" y="46"/>
                        </a:lnTo>
                        <a:lnTo>
                          <a:pt x="95" y="792"/>
                        </a:lnTo>
                        <a:lnTo>
                          <a:pt x="43" y="878"/>
                        </a:lnTo>
                        <a:lnTo>
                          <a:pt x="41" y="2375"/>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58" name="Freeform 80"/>
                  <p:cNvSpPr>
                    <a:spLocks/>
                  </p:cNvSpPr>
                  <p:nvPr/>
                </p:nvSpPr>
                <p:spPr bwMode="auto">
                  <a:xfrm>
                    <a:off x="3420" y="2710"/>
                    <a:ext cx="10" cy="264"/>
                  </a:xfrm>
                  <a:custGeom>
                    <a:avLst/>
                    <a:gdLst>
                      <a:gd name="T0" fmla="*/ 0 w 91"/>
                      <a:gd name="T1" fmla="*/ 0 h 2376"/>
                      <a:gd name="T2" fmla="*/ 0 w 91"/>
                      <a:gd name="T3" fmla="*/ 0 h 2376"/>
                      <a:gd name="T4" fmla="*/ 0 w 91"/>
                      <a:gd name="T5" fmla="*/ 0 h 2376"/>
                      <a:gd name="T6" fmla="*/ 0 w 91"/>
                      <a:gd name="T7" fmla="*/ 0 h 2376"/>
                      <a:gd name="T8" fmla="*/ 0 w 91"/>
                      <a:gd name="T9" fmla="*/ 0 h 2376"/>
                      <a:gd name="T10" fmla="*/ 0 60000 65536"/>
                      <a:gd name="T11" fmla="*/ 0 60000 65536"/>
                      <a:gd name="T12" fmla="*/ 0 60000 65536"/>
                      <a:gd name="T13" fmla="*/ 0 60000 65536"/>
                      <a:gd name="T14" fmla="*/ 0 60000 65536"/>
                      <a:gd name="T15" fmla="*/ 0 w 91"/>
                      <a:gd name="T16" fmla="*/ 0 h 2376"/>
                      <a:gd name="T17" fmla="*/ 91 w 91"/>
                      <a:gd name="T18" fmla="*/ 2376 h 2376"/>
                    </a:gdLst>
                    <a:ahLst/>
                    <a:cxnLst>
                      <a:cxn ang="T10">
                        <a:pos x="T0" y="T1"/>
                      </a:cxn>
                      <a:cxn ang="T11">
                        <a:pos x="T2" y="T3"/>
                      </a:cxn>
                      <a:cxn ang="T12">
                        <a:pos x="T4" y="T5"/>
                      </a:cxn>
                      <a:cxn ang="T13">
                        <a:pos x="T6" y="T7"/>
                      </a:cxn>
                      <a:cxn ang="T14">
                        <a:pos x="T8" y="T9"/>
                      </a:cxn>
                    </a:cxnLst>
                    <a:rect l="T15" t="T16" r="T17" b="T18"/>
                    <a:pathLst>
                      <a:path w="91" h="2376">
                        <a:moveTo>
                          <a:pt x="0" y="0"/>
                        </a:moveTo>
                        <a:lnTo>
                          <a:pt x="42" y="40"/>
                        </a:lnTo>
                        <a:lnTo>
                          <a:pt x="91" y="791"/>
                        </a:lnTo>
                        <a:lnTo>
                          <a:pt x="39" y="878"/>
                        </a:lnTo>
                        <a:lnTo>
                          <a:pt x="37" y="2376"/>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59" name="Freeform 81"/>
                  <p:cNvSpPr>
                    <a:spLocks/>
                  </p:cNvSpPr>
                  <p:nvPr/>
                </p:nvSpPr>
                <p:spPr bwMode="auto">
                  <a:xfrm>
                    <a:off x="3423" y="2710"/>
                    <a:ext cx="11" cy="265"/>
                  </a:xfrm>
                  <a:custGeom>
                    <a:avLst/>
                    <a:gdLst>
                      <a:gd name="T0" fmla="*/ 0 w 92"/>
                      <a:gd name="T1" fmla="*/ 0 h 2381"/>
                      <a:gd name="T2" fmla="*/ 0 w 92"/>
                      <a:gd name="T3" fmla="*/ 0 h 2381"/>
                      <a:gd name="T4" fmla="*/ 0 w 92"/>
                      <a:gd name="T5" fmla="*/ 0 h 2381"/>
                      <a:gd name="T6" fmla="*/ 0 w 92"/>
                      <a:gd name="T7" fmla="*/ 0 h 2381"/>
                      <a:gd name="T8" fmla="*/ 0 w 92"/>
                      <a:gd name="T9" fmla="*/ 0 h 2381"/>
                      <a:gd name="T10" fmla="*/ 0 60000 65536"/>
                      <a:gd name="T11" fmla="*/ 0 60000 65536"/>
                      <a:gd name="T12" fmla="*/ 0 60000 65536"/>
                      <a:gd name="T13" fmla="*/ 0 60000 65536"/>
                      <a:gd name="T14" fmla="*/ 0 60000 65536"/>
                      <a:gd name="T15" fmla="*/ 0 w 92"/>
                      <a:gd name="T16" fmla="*/ 0 h 2381"/>
                      <a:gd name="T17" fmla="*/ 92 w 92"/>
                      <a:gd name="T18" fmla="*/ 2381 h 2381"/>
                    </a:gdLst>
                    <a:ahLst/>
                    <a:cxnLst>
                      <a:cxn ang="T10">
                        <a:pos x="T0" y="T1"/>
                      </a:cxn>
                      <a:cxn ang="T11">
                        <a:pos x="T2" y="T3"/>
                      </a:cxn>
                      <a:cxn ang="T12">
                        <a:pos x="T4" y="T5"/>
                      </a:cxn>
                      <a:cxn ang="T13">
                        <a:pos x="T6" y="T7"/>
                      </a:cxn>
                      <a:cxn ang="T14">
                        <a:pos x="T8" y="T9"/>
                      </a:cxn>
                    </a:cxnLst>
                    <a:rect l="T15" t="T16" r="T17" b="T18"/>
                    <a:pathLst>
                      <a:path w="92" h="2381">
                        <a:moveTo>
                          <a:pt x="0" y="0"/>
                        </a:moveTo>
                        <a:lnTo>
                          <a:pt x="41" y="42"/>
                        </a:lnTo>
                        <a:lnTo>
                          <a:pt x="92" y="784"/>
                        </a:lnTo>
                        <a:lnTo>
                          <a:pt x="37" y="876"/>
                        </a:lnTo>
                        <a:lnTo>
                          <a:pt x="37" y="2381"/>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60" name="Freeform 82"/>
                  <p:cNvSpPr>
                    <a:spLocks/>
                  </p:cNvSpPr>
                  <p:nvPr/>
                </p:nvSpPr>
                <p:spPr bwMode="auto">
                  <a:xfrm>
                    <a:off x="3427" y="2710"/>
                    <a:ext cx="10" cy="264"/>
                  </a:xfrm>
                  <a:custGeom>
                    <a:avLst/>
                    <a:gdLst>
                      <a:gd name="T0" fmla="*/ 0 w 91"/>
                      <a:gd name="T1" fmla="*/ 0 h 2369"/>
                      <a:gd name="T2" fmla="*/ 0 w 91"/>
                      <a:gd name="T3" fmla="*/ 0 h 2369"/>
                      <a:gd name="T4" fmla="*/ 0 w 91"/>
                      <a:gd name="T5" fmla="*/ 0 h 2369"/>
                      <a:gd name="T6" fmla="*/ 0 w 91"/>
                      <a:gd name="T7" fmla="*/ 0 h 2369"/>
                      <a:gd name="T8" fmla="*/ 0 w 91"/>
                      <a:gd name="T9" fmla="*/ 0 h 2369"/>
                      <a:gd name="T10" fmla="*/ 0 60000 65536"/>
                      <a:gd name="T11" fmla="*/ 0 60000 65536"/>
                      <a:gd name="T12" fmla="*/ 0 60000 65536"/>
                      <a:gd name="T13" fmla="*/ 0 60000 65536"/>
                      <a:gd name="T14" fmla="*/ 0 60000 65536"/>
                      <a:gd name="T15" fmla="*/ 0 w 91"/>
                      <a:gd name="T16" fmla="*/ 0 h 2369"/>
                      <a:gd name="T17" fmla="*/ 91 w 91"/>
                      <a:gd name="T18" fmla="*/ 2369 h 2369"/>
                    </a:gdLst>
                    <a:ahLst/>
                    <a:cxnLst>
                      <a:cxn ang="T10">
                        <a:pos x="T0" y="T1"/>
                      </a:cxn>
                      <a:cxn ang="T11">
                        <a:pos x="T2" y="T3"/>
                      </a:cxn>
                      <a:cxn ang="T12">
                        <a:pos x="T4" y="T5"/>
                      </a:cxn>
                      <a:cxn ang="T13">
                        <a:pos x="T6" y="T7"/>
                      </a:cxn>
                      <a:cxn ang="T14">
                        <a:pos x="T8" y="T9"/>
                      </a:cxn>
                    </a:cxnLst>
                    <a:rect l="T15" t="T16" r="T17" b="T18"/>
                    <a:pathLst>
                      <a:path w="91" h="2369">
                        <a:moveTo>
                          <a:pt x="0" y="0"/>
                        </a:moveTo>
                        <a:lnTo>
                          <a:pt x="42" y="40"/>
                        </a:lnTo>
                        <a:lnTo>
                          <a:pt x="91" y="786"/>
                        </a:lnTo>
                        <a:lnTo>
                          <a:pt x="41" y="872"/>
                        </a:lnTo>
                        <a:lnTo>
                          <a:pt x="39" y="2369"/>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61" name="Rectangle 83"/>
                  <p:cNvSpPr>
                    <a:spLocks noChangeArrowheads="1"/>
                  </p:cNvSpPr>
                  <p:nvPr/>
                </p:nvSpPr>
                <p:spPr bwMode="auto">
                  <a:xfrm>
                    <a:off x="3434" y="2829"/>
                    <a:ext cx="76" cy="124"/>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62" name="Rectangle 84"/>
                  <p:cNvSpPr>
                    <a:spLocks noChangeArrowheads="1"/>
                  </p:cNvSpPr>
                  <p:nvPr/>
                </p:nvSpPr>
                <p:spPr bwMode="auto">
                  <a:xfrm>
                    <a:off x="3434" y="2859"/>
                    <a:ext cx="76" cy="16"/>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63" name="Rectangle 85"/>
                  <p:cNvSpPr>
                    <a:spLocks noChangeArrowheads="1"/>
                  </p:cNvSpPr>
                  <p:nvPr/>
                </p:nvSpPr>
                <p:spPr bwMode="auto">
                  <a:xfrm>
                    <a:off x="3434" y="2883"/>
                    <a:ext cx="76" cy="16"/>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64" name="Rectangle 86"/>
                  <p:cNvSpPr>
                    <a:spLocks noChangeArrowheads="1"/>
                  </p:cNvSpPr>
                  <p:nvPr/>
                </p:nvSpPr>
                <p:spPr bwMode="auto">
                  <a:xfrm>
                    <a:off x="3434" y="2907"/>
                    <a:ext cx="76" cy="22"/>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65" name="Rectangle 87"/>
                  <p:cNvSpPr>
                    <a:spLocks noChangeArrowheads="1"/>
                  </p:cNvSpPr>
                  <p:nvPr/>
                </p:nvSpPr>
                <p:spPr bwMode="auto">
                  <a:xfrm>
                    <a:off x="3452" y="2859"/>
                    <a:ext cx="46" cy="10"/>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66" name="Rectangle 88"/>
                  <p:cNvSpPr>
                    <a:spLocks noChangeArrowheads="1"/>
                  </p:cNvSpPr>
                  <p:nvPr/>
                </p:nvSpPr>
                <p:spPr bwMode="auto">
                  <a:xfrm>
                    <a:off x="3452" y="2889"/>
                    <a:ext cx="46" cy="10"/>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67" name="Freeform 89"/>
                  <p:cNvSpPr>
                    <a:spLocks/>
                  </p:cNvSpPr>
                  <p:nvPr/>
                </p:nvSpPr>
                <p:spPr bwMode="auto">
                  <a:xfrm>
                    <a:off x="3486" y="2832"/>
                    <a:ext cx="4" cy="17"/>
                  </a:xfrm>
                  <a:custGeom>
                    <a:avLst/>
                    <a:gdLst>
                      <a:gd name="T0" fmla="*/ 0 w 32"/>
                      <a:gd name="T1" fmla="*/ 0 h 152"/>
                      <a:gd name="T2" fmla="*/ 0 w 32"/>
                      <a:gd name="T3" fmla="*/ 0 h 152"/>
                      <a:gd name="T4" fmla="*/ 0 w 32"/>
                      <a:gd name="T5" fmla="*/ 0 h 152"/>
                      <a:gd name="T6" fmla="*/ 0 w 32"/>
                      <a:gd name="T7" fmla="*/ 0 h 152"/>
                      <a:gd name="T8" fmla="*/ 0 60000 65536"/>
                      <a:gd name="T9" fmla="*/ 0 60000 65536"/>
                      <a:gd name="T10" fmla="*/ 0 60000 65536"/>
                      <a:gd name="T11" fmla="*/ 0 60000 65536"/>
                      <a:gd name="T12" fmla="*/ 0 w 32"/>
                      <a:gd name="T13" fmla="*/ 0 h 152"/>
                      <a:gd name="T14" fmla="*/ 32 w 32"/>
                      <a:gd name="T15" fmla="*/ 152 h 152"/>
                    </a:gdLst>
                    <a:ahLst/>
                    <a:cxnLst>
                      <a:cxn ang="T8">
                        <a:pos x="T0" y="T1"/>
                      </a:cxn>
                      <a:cxn ang="T9">
                        <a:pos x="T2" y="T3"/>
                      </a:cxn>
                      <a:cxn ang="T10">
                        <a:pos x="T4" y="T5"/>
                      </a:cxn>
                      <a:cxn ang="T11">
                        <a:pos x="T6" y="T7"/>
                      </a:cxn>
                    </a:cxnLst>
                    <a:rect l="T12" t="T13" r="T14" b="T15"/>
                    <a:pathLst>
                      <a:path w="32" h="152">
                        <a:moveTo>
                          <a:pt x="32" y="0"/>
                        </a:moveTo>
                        <a:lnTo>
                          <a:pt x="32" y="152"/>
                        </a:lnTo>
                        <a:lnTo>
                          <a:pt x="0" y="66"/>
                        </a:lnTo>
                        <a:lnTo>
                          <a:pt x="32"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68" name="Rectangle 90"/>
                  <p:cNvSpPr>
                    <a:spLocks noChangeArrowheads="1"/>
                  </p:cNvSpPr>
                  <p:nvPr/>
                </p:nvSpPr>
                <p:spPr bwMode="auto">
                  <a:xfrm>
                    <a:off x="3434" y="2829"/>
                    <a:ext cx="76" cy="22"/>
                  </a:xfrm>
                  <a:prstGeom prst="rect">
                    <a:avLst/>
                  </a:prstGeom>
                  <a:solidFill>
                    <a:srgbClr val="A0A0A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69" name="Freeform 91"/>
                  <p:cNvSpPr>
                    <a:spLocks/>
                  </p:cNvSpPr>
                  <p:nvPr/>
                </p:nvSpPr>
                <p:spPr bwMode="auto">
                  <a:xfrm>
                    <a:off x="3473" y="2832"/>
                    <a:ext cx="17" cy="8"/>
                  </a:xfrm>
                  <a:custGeom>
                    <a:avLst/>
                    <a:gdLst>
                      <a:gd name="T0" fmla="*/ 0 w 149"/>
                      <a:gd name="T1" fmla="*/ 0 h 69"/>
                      <a:gd name="T2" fmla="*/ 0 w 149"/>
                      <a:gd name="T3" fmla="*/ 0 h 69"/>
                      <a:gd name="T4" fmla="*/ 0 w 149"/>
                      <a:gd name="T5" fmla="*/ 0 h 69"/>
                      <a:gd name="T6" fmla="*/ 0 w 149"/>
                      <a:gd name="T7" fmla="*/ 0 h 69"/>
                      <a:gd name="T8" fmla="*/ 0 w 149"/>
                      <a:gd name="T9" fmla="*/ 0 h 69"/>
                      <a:gd name="T10" fmla="*/ 0 60000 65536"/>
                      <a:gd name="T11" fmla="*/ 0 60000 65536"/>
                      <a:gd name="T12" fmla="*/ 0 60000 65536"/>
                      <a:gd name="T13" fmla="*/ 0 60000 65536"/>
                      <a:gd name="T14" fmla="*/ 0 60000 65536"/>
                      <a:gd name="T15" fmla="*/ 0 w 149"/>
                      <a:gd name="T16" fmla="*/ 0 h 69"/>
                      <a:gd name="T17" fmla="*/ 149 w 149"/>
                      <a:gd name="T18" fmla="*/ 69 h 69"/>
                    </a:gdLst>
                    <a:ahLst/>
                    <a:cxnLst>
                      <a:cxn ang="T10">
                        <a:pos x="T0" y="T1"/>
                      </a:cxn>
                      <a:cxn ang="T11">
                        <a:pos x="T2" y="T3"/>
                      </a:cxn>
                      <a:cxn ang="T12">
                        <a:pos x="T4" y="T5"/>
                      </a:cxn>
                      <a:cxn ang="T13">
                        <a:pos x="T6" y="T7"/>
                      </a:cxn>
                      <a:cxn ang="T14">
                        <a:pos x="T8" y="T9"/>
                      </a:cxn>
                    </a:cxnLst>
                    <a:rect l="T15" t="T16" r="T17" b="T18"/>
                    <a:pathLst>
                      <a:path w="149" h="69">
                        <a:moveTo>
                          <a:pt x="149" y="0"/>
                        </a:moveTo>
                        <a:lnTo>
                          <a:pt x="9" y="0"/>
                        </a:lnTo>
                        <a:lnTo>
                          <a:pt x="0" y="69"/>
                        </a:lnTo>
                        <a:lnTo>
                          <a:pt x="132" y="67"/>
                        </a:lnTo>
                        <a:lnTo>
                          <a:pt x="149"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70" name="Freeform 92"/>
                  <p:cNvSpPr>
                    <a:spLocks/>
                  </p:cNvSpPr>
                  <p:nvPr/>
                </p:nvSpPr>
                <p:spPr bwMode="auto">
                  <a:xfrm>
                    <a:off x="3473" y="2842"/>
                    <a:ext cx="37" cy="8"/>
                  </a:xfrm>
                  <a:custGeom>
                    <a:avLst/>
                    <a:gdLst>
                      <a:gd name="T0" fmla="*/ 0 w 335"/>
                      <a:gd name="T1" fmla="*/ 0 h 67"/>
                      <a:gd name="T2" fmla="*/ 0 w 335"/>
                      <a:gd name="T3" fmla="*/ 0 h 67"/>
                      <a:gd name="T4" fmla="*/ 0 w 335"/>
                      <a:gd name="T5" fmla="*/ 0 h 67"/>
                      <a:gd name="T6" fmla="*/ 0 w 335"/>
                      <a:gd name="T7" fmla="*/ 0 h 67"/>
                      <a:gd name="T8" fmla="*/ 0 w 335"/>
                      <a:gd name="T9" fmla="*/ 0 h 67"/>
                      <a:gd name="T10" fmla="*/ 0 60000 65536"/>
                      <a:gd name="T11" fmla="*/ 0 60000 65536"/>
                      <a:gd name="T12" fmla="*/ 0 60000 65536"/>
                      <a:gd name="T13" fmla="*/ 0 60000 65536"/>
                      <a:gd name="T14" fmla="*/ 0 60000 65536"/>
                      <a:gd name="T15" fmla="*/ 0 w 335"/>
                      <a:gd name="T16" fmla="*/ 0 h 67"/>
                      <a:gd name="T17" fmla="*/ 335 w 335"/>
                      <a:gd name="T18" fmla="*/ 67 h 67"/>
                    </a:gdLst>
                    <a:ahLst/>
                    <a:cxnLst>
                      <a:cxn ang="T10">
                        <a:pos x="T0" y="T1"/>
                      </a:cxn>
                      <a:cxn ang="T11">
                        <a:pos x="T2" y="T3"/>
                      </a:cxn>
                      <a:cxn ang="T12">
                        <a:pos x="T4" y="T5"/>
                      </a:cxn>
                      <a:cxn ang="T13">
                        <a:pos x="T6" y="T7"/>
                      </a:cxn>
                      <a:cxn ang="T14">
                        <a:pos x="T8" y="T9"/>
                      </a:cxn>
                    </a:cxnLst>
                    <a:rect l="T15" t="T16" r="T17" b="T18"/>
                    <a:pathLst>
                      <a:path w="335" h="67">
                        <a:moveTo>
                          <a:pt x="335" y="67"/>
                        </a:moveTo>
                        <a:lnTo>
                          <a:pt x="9" y="67"/>
                        </a:lnTo>
                        <a:lnTo>
                          <a:pt x="0" y="0"/>
                        </a:lnTo>
                        <a:lnTo>
                          <a:pt x="318" y="0"/>
                        </a:lnTo>
                        <a:lnTo>
                          <a:pt x="335" y="67"/>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71" name="Freeform 93"/>
                  <p:cNvSpPr>
                    <a:spLocks/>
                  </p:cNvSpPr>
                  <p:nvPr/>
                </p:nvSpPr>
                <p:spPr bwMode="auto">
                  <a:xfrm>
                    <a:off x="3489" y="2836"/>
                    <a:ext cx="21" cy="4"/>
                  </a:xfrm>
                  <a:custGeom>
                    <a:avLst/>
                    <a:gdLst>
                      <a:gd name="T0" fmla="*/ 0 w 196"/>
                      <a:gd name="T1" fmla="*/ 0 h 36"/>
                      <a:gd name="T2" fmla="*/ 0 w 196"/>
                      <a:gd name="T3" fmla="*/ 0 h 36"/>
                      <a:gd name="T4" fmla="*/ 0 w 196"/>
                      <a:gd name="T5" fmla="*/ 0 h 36"/>
                      <a:gd name="T6" fmla="*/ 0 w 196"/>
                      <a:gd name="T7" fmla="*/ 0 h 36"/>
                      <a:gd name="T8" fmla="*/ 0 w 196"/>
                      <a:gd name="T9" fmla="*/ 0 h 36"/>
                      <a:gd name="T10" fmla="*/ 0 60000 65536"/>
                      <a:gd name="T11" fmla="*/ 0 60000 65536"/>
                      <a:gd name="T12" fmla="*/ 0 60000 65536"/>
                      <a:gd name="T13" fmla="*/ 0 60000 65536"/>
                      <a:gd name="T14" fmla="*/ 0 60000 65536"/>
                      <a:gd name="T15" fmla="*/ 0 w 196"/>
                      <a:gd name="T16" fmla="*/ 0 h 36"/>
                      <a:gd name="T17" fmla="*/ 196 w 196"/>
                      <a:gd name="T18" fmla="*/ 36 h 36"/>
                    </a:gdLst>
                    <a:ahLst/>
                    <a:cxnLst>
                      <a:cxn ang="T10">
                        <a:pos x="T0" y="T1"/>
                      </a:cxn>
                      <a:cxn ang="T11">
                        <a:pos x="T2" y="T3"/>
                      </a:cxn>
                      <a:cxn ang="T12">
                        <a:pos x="T4" y="T5"/>
                      </a:cxn>
                      <a:cxn ang="T13">
                        <a:pos x="T6" y="T7"/>
                      </a:cxn>
                      <a:cxn ang="T14">
                        <a:pos x="T8" y="T9"/>
                      </a:cxn>
                    </a:cxnLst>
                    <a:rect l="T15" t="T16" r="T17" b="T18"/>
                    <a:pathLst>
                      <a:path w="196" h="36">
                        <a:moveTo>
                          <a:pt x="196" y="0"/>
                        </a:moveTo>
                        <a:lnTo>
                          <a:pt x="8" y="0"/>
                        </a:lnTo>
                        <a:lnTo>
                          <a:pt x="0" y="36"/>
                        </a:lnTo>
                        <a:lnTo>
                          <a:pt x="179" y="36"/>
                        </a:lnTo>
                        <a:lnTo>
                          <a:pt x="196"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72" name="Freeform 94"/>
                  <p:cNvSpPr>
                    <a:spLocks/>
                  </p:cNvSpPr>
                  <p:nvPr/>
                </p:nvSpPr>
                <p:spPr bwMode="auto">
                  <a:xfrm>
                    <a:off x="3508" y="2836"/>
                    <a:ext cx="2" cy="13"/>
                  </a:xfrm>
                  <a:custGeom>
                    <a:avLst/>
                    <a:gdLst>
                      <a:gd name="T0" fmla="*/ 0 w 20"/>
                      <a:gd name="T1" fmla="*/ 0 h 123"/>
                      <a:gd name="T2" fmla="*/ 0 w 20"/>
                      <a:gd name="T3" fmla="*/ 0 h 123"/>
                      <a:gd name="T4" fmla="*/ 0 w 20"/>
                      <a:gd name="T5" fmla="*/ 0 h 123"/>
                      <a:gd name="T6" fmla="*/ 0 w 20"/>
                      <a:gd name="T7" fmla="*/ 0 h 123"/>
                      <a:gd name="T8" fmla="*/ 0 60000 65536"/>
                      <a:gd name="T9" fmla="*/ 0 60000 65536"/>
                      <a:gd name="T10" fmla="*/ 0 60000 65536"/>
                      <a:gd name="T11" fmla="*/ 0 60000 65536"/>
                      <a:gd name="T12" fmla="*/ 0 w 20"/>
                      <a:gd name="T13" fmla="*/ 0 h 123"/>
                      <a:gd name="T14" fmla="*/ 20 w 20"/>
                      <a:gd name="T15" fmla="*/ 123 h 123"/>
                    </a:gdLst>
                    <a:ahLst/>
                    <a:cxnLst>
                      <a:cxn ang="T8">
                        <a:pos x="T0" y="T1"/>
                      </a:cxn>
                      <a:cxn ang="T9">
                        <a:pos x="T2" y="T3"/>
                      </a:cxn>
                      <a:cxn ang="T10">
                        <a:pos x="T4" y="T5"/>
                      </a:cxn>
                      <a:cxn ang="T11">
                        <a:pos x="T6" y="T7"/>
                      </a:cxn>
                    </a:cxnLst>
                    <a:rect l="T12" t="T13" r="T14" b="T15"/>
                    <a:pathLst>
                      <a:path w="20" h="123">
                        <a:moveTo>
                          <a:pt x="20" y="0"/>
                        </a:moveTo>
                        <a:lnTo>
                          <a:pt x="20" y="123"/>
                        </a:lnTo>
                        <a:lnTo>
                          <a:pt x="0" y="41"/>
                        </a:lnTo>
                        <a:lnTo>
                          <a:pt x="2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73" name="Oval 95"/>
                  <p:cNvSpPr>
                    <a:spLocks noChangeArrowheads="1"/>
                  </p:cNvSpPr>
                  <p:nvPr/>
                </p:nvSpPr>
                <p:spPr bwMode="auto">
                  <a:xfrm>
                    <a:off x="3487" y="2845"/>
                    <a:ext cx="6" cy="1"/>
                  </a:xfrm>
                  <a:prstGeom prst="ellipse">
                    <a:avLst/>
                  </a:prstGeom>
                  <a:solidFill>
                    <a:srgbClr val="C0C0C0"/>
                  </a:solidFill>
                  <a:ln w="1588">
                    <a:solidFill>
                      <a:srgbClr val="808080"/>
                    </a:solidFill>
                    <a:round/>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74" name="Freeform 96"/>
                  <p:cNvSpPr>
                    <a:spLocks/>
                  </p:cNvSpPr>
                  <p:nvPr/>
                </p:nvSpPr>
                <p:spPr bwMode="auto">
                  <a:xfrm>
                    <a:off x="3488" y="2832"/>
                    <a:ext cx="7" cy="20"/>
                  </a:xfrm>
                  <a:custGeom>
                    <a:avLst/>
                    <a:gdLst>
                      <a:gd name="T0" fmla="*/ 0 w 65"/>
                      <a:gd name="T1" fmla="*/ 0 h 183"/>
                      <a:gd name="T2" fmla="*/ 0 w 65"/>
                      <a:gd name="T3" fmla="*/ 0 h 183"/>
                      <a:gd name="T4" fmla="*/ 0 w 65"/>
                      <a:gd name="T5" fmla="*/ 0 h 183"/>
                      <a:gd name="T6" fmla="*/ 0 w 65"/>
                      <a:gd name="T7" fmla="*/ 0 h 183"/>
                      <a:gd name="T8" fmla="*/ 0 w 65"/>
                      <a:gd name="T9" fmla="*/ 0 h 183"/>
                      <a:gd name="T10" fmla="*/ 0 w 65"/>
                      <a:gd name="T11" fmla="*/ 0 h 183"/>
                      <a:gd name="T12" fmla="*/ 0 w 65"/>
                      <a:gd name="T13" fmla="*/ 0 h 183"/>
                      <a:gd name="T14" fmla="*/ 0 w 65"/>
                      <a:gd name="T15" fmla="*/ 0 h 183"/>
                      <a:gd name="T16" fmla="*/ 0 w 65"/>
                      <a:gd name="T17" fmla="*/ 0 h 183"/>
                      <a:gd name="T18" fmla="*/ 0 w 65"/>
                      <a:gd name="T19" fmla="*/ 0 h 183"/>
                      <a:gd name="T20" fmla="*/ 0 w 65"/>
                      <a:gd name="T21" fmla="*/ 0 h 183"/>
                      <a:gd name="T22" fmla="*/ 0 w 65"/>
                      <a:gd name="T23" fmla="*/ 0 h 1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5"/>
                      <a:gd name="T37" fmla="*/ 0 h 183"/>
                      <a:gd name="T38" fmla="*/ 65 w 65"/>
                      <a:gd name="T39" fmla="*/ 183 h 1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5" h="183">
                        <a:moveTo>
                          <a:pt x="52" y="2"/>
                        </a:moveTo>
                        <a:lnTo>
                          <a:pt x="29" y="0"/>
                        </a:lnTo>
                        <a:lnTo>
                          <a:pt x="13" y="10"/>
                        </a:lnTo>
                        <a:lnTo>
                          <a:pt x="7" y="32"/>
                        </a:lnTo>
                        <a:lnTo>
                          <a:pt x="0" y="73"/>
                        </a:lnTo>
                        <a:lnTo>
                          <a:pt x="16" y="180"/>
                        </a:lnTo>
                        <a:lnTo>
                          <a:pt x="29" y="183"/>
                        </a:lnTo>
                        <a:lnTo>
                          <a:pt x="29" y="88"/>
                        </a:lnTo>
                        <a:lnTo>
                          <a:pt x="58" y="48"/>
                        </a:lnTo>
                        <a:lnTo>
                          <a:pt x="65" y="29"/>
                        </a:lnTo>
                        <a:lnTo>
                          <a:pt x="64" y="12"/>
                        </a:lnTo>
                        <a:lnTo>
                          <a:pt x="52" y="2"/>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75" name="Freeform 97"/>
                  <p:cNvSpPr>
                    <a:spLocks/>
                  </p:cNvSpPr>
                  <p:nvPr/>
                </p:nvSpPr>
                <p:spPr bwMode="auto">
                  <a:xfrm>
                    <a:off x="3489" y="2831"/>
                    <a:ext cx="7" cy="21"/>
                  </a:xfrm>
                  <a:custGeom>
                    <a:avLst/>
                    <a:gdLst>
                      <a:gd name="T0" fmla="*/ 0 w 66"/>
                      <a:gd name="T1" fmla="*/ 0 h 182"/>
                      <a:gd name="T2" fmla="*/ 0 w 66"/>
                      <a:gd name="T3" fmla="*/ 0 h 182"/>
                      <a:gd name="T4" fmla="*/ 0 w 66"/>
                      <a:gd name="T5" fmla="*/ 0 h 182"/>
                      <a:gd name="T6" fmla="*/ 0 w 66"/>
                      <a:gd name="T7" fmla="*/ 0 h 182"/>
                      <a:gd name="T8" fmla="*/ 0 w 66"/>
                      <a:gd name="T9" fmla="*/ 0 h 182"/>
                      <a:gd name="T10" fmla="*/ 0 w 66"/>
                      <a:gd name="T11" fmla="*/ 0 h 182"/>
                      <a:gd name="T12" fmla="*/ 0 w 66"/>
                      <a:gd name="T13" fmla="*/ 0 h 182"/>
                      <a:gd name="T14" fmla="*/ 0 w 66"/>
                      <a:gd name="T15" fmla="*/ 0 h 182"/>
                      <a:gd name="T16" fmla="*/ 0 w 66"/>
                      <a:gd name="T17" fmla="*/ 0 h 182"/>
                      <a:gd name="T18" fmla="*/ 0 w 66"/>
                      <a:gd name="T19" fmla="*/ 0 h 182"/>
                      <a:gd name="T20" fmla="*/ 0 w 66"/>
                      <a:gd name="T21" fmla="*/ 0 h 182"/>
                      <a:gd name="T22" fmla="*/ 0 w 66"/>
                      <a:gd name="T23" fmla="*/ 0 h 1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
                      <a:gd name="T37" fmla="*/ 0 h 182"/>
                      <a:gd name="T38" fmla="*/ 66 w 66"/>
                      <a:gd name="T39" fmla="*/ 182 h 18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 h="182">
                        <a:moveTo>
                          <a:pt x="53" y="2"/>
                        </a:moveTo>
                        <a:lnTo>
                          <a:pt x="29" y="0"/>
                        </a:lnTo>
                        <a:lnTo>
                          <a:pt x="14" y="10"/>
                        </a:lnTo>
                        <a:lnTo>
                          <a:pt x="8" y="31"/>
                        </a:lnTo>
                        <a:lnTo>
                          <a:pt x="0" y="72"/>
                        </a:lnTo>
                        <a:lnTo>
                          <a:pt x="17" y="180"/>
                        </a:lnTo>
                        <a:lnTo>
                          <a:pt x="29" y="182"/>
                        </a:lnTo>
                        <a:lnTo>
                          <a:pt x="29" y="87"/>
                        </a:lnTo>
                        <a:lnTo>
                          <a:pt x="59" y="48"/>
                        </a:lnTo>
                        <a:lnTo>
                          <a:pt x="66" y="29"/>
                        </a:lnTo>
                        <a:lnTo>
                          <a:pt x="64" y="12"/>
                        </a:lnTo>
                        <a:lnTo>
                          <a:pt x="53" y="2"/>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76" name="Rectangle 98"/>
                  <p:cNvSpPr>
                    <a:spLocks noChangeArrowheads="1"/>
                  </p:cNvSpPr>
                  <p:nvPr/>
                </p:nvSpPr>
                <p:spPr bwMode="auto">
                  <a:xfrm>
                    <a:off x="3451" y="2864"/>
                    <a:ext cx="42" cy="1"/>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77" name="Freeform 99"/>
                  <p:cNvSpPr>
                    <a:spLocks/>
                  </p:cNvSpPr>
                  <p:nvPr/>
                </p:nvSpPr>
                <p:spPr bwMode="auto">
                  <a:xfrm>
                    <a:off x="3467" y="2870"/>
                    <a:ext cx="21" cy="4"/>
                  </a:xfrm>
                  <a:custGeom>
                    <a:avLst/>
                    <a:gdLst>
                      <a:gd name="T0" fmla="*/ 0 w 187"/>
                      <a:gd name="T1" fmla="*/ 0 h 35"/>
                      <a:gd name="T2" fmla="*/ 0 w 187"/>
                      <a:gd name="T3" fmla="*/ 0 h 35"/>
                      <a:gd name="T4" fmla="*/ 0 w 187"/>
                      <a:gd name="T5" fmla="*/ 0 h 35"/>
                      <a:gd name="T6" fmla="*/ 0 w 187"/>
                      <a:gd name="T7" fmla="*/ 0 h 35"/>
                      <a:gd name="T8" fmla="*/ 0 60000 65536"/>
                      <a:gd name="T9" fmla="*/ 0 60000 65536"/>
                      <a:gd name="T10" fmla="*/ 0 60000 65536"/>
                      <a:gd name="T11" fmla="*/ 0 60000 65536"/>
                      <a:gd name="T12" fmla="*/ 0 w 187"/>
                      <a:gd name="T13" fmla="*/ 0 h 35"/>
                      <a:gd name="T14" fmla="*/ 187 w 187"/>
                      <a:gd name="T15" fmla="*/ 35 h 35"/>
                    </a:gdLst>
                    <a:ahLst/>
                    <a:cxnLst>
                      <a:cxn ang="T8">
                        <a:pos x="T0" y="T1"/>
                      </a:cxn>
                      <a:cxn ang="T9">
                        <a:pos x="T2" y="T3"/>
                      </a:cxn>
                      <a:cxn ang="T10">
                        <a:pos x="T4" y="T5"/>
                      </a:cxn>
                      <a:cxn ang="T11">
                        <a:pos x="T6" y="T7"/>
                      </a:cxn>
                    </a:cxnLst>
                    <a:rect l="T12" t="T13" r="T14" b="T15"/>
                    <a:pathLst>
                      <a:path w="187" h="35">
                        <a:moveTo>
                          <a:pt x="5" y="35"/>
                        </a:moveTo>
                        <a:lnTo>
                          <a:pt x="0" y="0"/>
                        </a:lnTo>
                        <a:lnTo>
                          <a:pt x="182" y="0"/>
                        </a:lnTo>
                        <a:lnTo>
                          <a:pt x="187" y="34"/>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78" name="Freeform 100"/>
                  <p:cNvSpPr>
                    <a:spLocks/>
                  </p:cNvSpPr>
                  <p:nvPr/>
                </p:nvSpPr>
                <p:spPr bwMode="auto">
                  <a:xfrm>
                    <a:off x="3411" y="2727"/>
                    <a:ext cx="18" cy="20"/>
                  </a:xfrm>
                  <a:custGeom>
                    <a:avLst/>
                    <a:gdLst>
                      <a:gd name="T0" fmla="*/ 0 w 165"/>
                      <a:gd name="T1" fmla="*/ 0 h 181"/>
                      <a:gd name="T2" fmla="*/ 0 w 165"/>
                      <a:gd name="T3" fmla="*/ 0 h 181"/>
                      <a:gd name="T4" fmla="*/ 0 w 165"/>
                      <a:gd name="T5" fmla="*/ 0 h 181"/>
                      <a:gd name="T6" fmla="*/ 0 w 165"/>
                      <a:gd name="T7" fmla="*/ 0 h 181"/>
                      <a:gd name="T8" fmla="*/ 0 w 165"/>
                      <a:gd name="T9" fmla="*/ 0 h 181"/>
                      <a:gd name="T10" fmla="*/ 0 60000 65536"/>
                      <a:gd name="T11" fmla="*/ 0 60000 65536"/>
                      <a:gd name="T12" fmla="*/ 0 60000 65536"/>
                      <a:gd name="T13" fmla="*/ 0 60000 65536"/>
                      <a:gd name="T14" fmla="*/ 0 60000 65536"/>
                      <a:gd name="T15" fmla="*/ 0 w 165"/>
                      <a:gd name="T16" fmla="*/ 0 h 181"/>
                      <a:gd name="T17" fmla="*/ 165 w 165"/>
                      <a:gd name="T18" fmla="*/ 181 h 181"/>
                    </a:gdLst>
                    <a:ahLst/>
                    <a:cxnLst>
                      <a:cxn ang="T10">
                        <a:pos x="T0" y="T1"/>
                      </a:cxn>
                      <a:cxn ang="T11">
                        <a:pos x="T2" y="T3"/>
                      </a:cxn>
                      <a:cxn ang="T12">
                        <a:pos x="T4" y="T5"/>
                      </a:cxn>
                      <a:cxn ang="T13">
                        <a:pos x="T6" y="T7"/>
                      </a:cxn>
                      <a:cxn ang="T14">
                        <a:pos x="T8" y="T9"/>
                      </a:cxn>
                    </a:cxnLst>
                    <a:rect l="T15" t="T16" r="T17" b="T18"/>
                    <a:pathLst>
                      <a:path w="165" h="181">
                        <a:moveTo>
                          <a:pt x="153" y="0"/>
                        </a:moveTo>
                        <a:lnTo>
                          <a:pt x="0" y="0"/>
                        </a:lnTo>
                        <a:lnTo>
                          <a:pt x="11" y="181"/>
                        </a:lnTo>
                        <a:lnTo>
                          <a:pt x="165" y="181"/>
                        </a:lnTo>
                        <a:lnTo>
                          <a:pt x="153" y="0"/>
                        </a:lnTo>
                        <a:close/>
                      </a:path>
                    </a:pathLst>
                  </a:custGeom>
                  <a:solidFill>
                    <a:srgbClr val="C0C0C0"/>
                  </a:solidFill>
                  <a:ln w="3175">
                    <a:solidFill>
                      <a:srgbClr val="808080"/>
                    </a:solidFill>
                    <a:prstDash val="solid"/>
                    <a:round/>
                    <a:headEnd/>
                    <a:tailEnd/>
                  </a:ln>
                </p:spPr>
                <p:txBody>
                  <a:bodyPr/>
                  <a:lstStyle/>
                  <a:p>
                    <a:endParaRPr lang="en-US" sz="1350"/>
                  </a:p>
                </p:txBody>
              </p:sp>
              <p:sp>
                <p:nvSpPr>
                  <p:cNvPr id="179" name="Freeform 101"/>
                  <p:cNvSpPr>
                    <a:spLocks/>
                  </p:cNvSpPr>
                  <p:nvPr/>
                </p:nvSpPr>
                <p:spPr bwMode="auto">
                  <a:xfrm>
                    <a:off x="3413" y="2761"/>
                    <a:ext cx="19" cy="21"/>
                  </a:xfrm>
                  <a:custGeom>
                    <a:avLst/>
                    <a:gdLst>
                      <a:gd name="T0" fmla="*/ 0 w 172"/>
                      <a:gd name="T1" fmla="*/ 0 h 182"/>
                      <a:gd name="T2" fmla="*/ 0 w 172"/>
                      <a:gd name="T3" fmla="*/ 0 h 182"/>
                      <a:gd name="T4" fmla="*/ 0 w 172"/>
                      <a:gd name="T5" fmla="*/ 0 h 182"/>
                      <a:gd name="T6" fmla="*/ 0 w 172"/>
                      <a:gd name="T7" fmla="*/ 0 h 182"/>
                      <a:gd name="T8" fmla="*/ 0 w 172"/>
                      <a:gd name="T9" fmla="*/ 0 h 182"/>
                      <a:gd name="T10" fmla="*/ 0 60000 65536"/>
                      <a:gd name="T11" fmla="*/ 0 60000 65536"/>
                      <a:gd name="T12" fmla="*/ 0 60000 65536"/>
                      <a:gd name="T13" fmla="*/ 0 60000 65536"/>
                      <a:gd name="T14" fmla="*/ 0 60000 65536"/>
                      <a:gd name="T15" fmla="*/ 0 w 172"/>
                      <a:gd name="T16" fmla="*/ 0 h 182"/>
                      <a:gd name="T17" fmla="*/ 172 w 172"/>
                      <a:gd name="T18" fmla="*/ 182 h 182"/>
                    </a:gdLst>
                    <a:ahLst/>
                    <a:cxnLst>
                      <a:cxn ang="T10">
                        <a:pos x="T0" y="T1"/>
                      </a:cxn>
                      <a:cxn ang="T11">
                        <a:pos x="T2" y="T3"/>
                      </a:cxn>
                      <a:cxn ang="T12">
                        <a:pos x="T4" y="T5"/>
                      </a:cxn>
                      <a:cxn ang="T13">
                        <a:pos x="T6" y="T7"/>
                      </a:cxn>
                      <a:cxn ang="T14">
                        <a:pos x="T8" y="T9"/>
                      </a:cxn>
                    </a:cxnLst>
                    <a:rect l="T15" t="T16" r="T17" b="T18"/>
                    <a:pathLst>
                      <a:path w="172" h="182">
                        <a:moveTo>
                          <a:pt x="159" y="0"/>
                        </a:moveTo>
                        <a:lnTo>
                          <a:pt x="0" y="0"/>
                        </a:lnTo>
                        <a:lnTo>
                          <a:pt x="12" y="182"/>
                        </a:lnTo>
                        <a:lnTo>
                          <a:pt x="172" y="181"/>
                        </a:lnTo>
                        <a:lnTo>
                          <a:pt x="159" y="0"/>
                        </a:lnTo>
                        <a:close/>
                      </a:path>
                    </a:pathLst>
                  </a:custGeom>
                  <a:solidFill>
                    <a:srgbClr val="C0C0C0"/>
                  </a:solidFill>
                  <a:ln w="3175">
                    <a:solidFill>
                      <a:srgbClr val="808080"/>
                    </a:solidFill>
                    <a:prstDash val="solid"/>
                    <a:round/>
                    <a:headEnd/>
                    <a:tailEnd/>
                  </a:ln>
                </p:spPr>
                <p:txBody>
                  <a:bodyPr/>
                  <a:lstStyle/>
                  <a:p>
                    <a:endParaRPr lang="en-US" sz="1350"/>
                  </a:p>
                </p:txBody>
              </p:sp>
              <p:sp>
                <p:nvSpPr>
                  <p:cNvPr id="180" name="Rectangle 102"/>
                  <p:cNvSpPr>
                    <a:spLocks noChangeArrowheads="1"/>
                  </p:cNvSpPr>
                  <p:nvPr/>
                </p:nvSpPr>
                <p:spPr bwMode="auto">
                  <a:xfrm>
                    <a:off x="3440" y="2762"/>
                    <a:ext cx="76" cy="10"/>
                  </a:xfrm>
                  <a:prstGeom prst="rect">
                    <a:avLst/>
                  </a:prstGeom>
                  <a:solidFill>
                    <a:srgbClr val="60606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81" name="Rectangle 103"/>
                  <p:cNvSpPr>
                    <a:spLocks noChangeArrowheads="1"/>
                  </p:cNvSpPr>
                  <p:nvPr/>
                </p:nvSpPr>
                <p:spPr bwMode="auto">
                  <a:xfrm>
                    <a:off x="3457" y="2761"/>
                    <a:ext cx="1" cy="1"/>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82" name="Rectangle 104"/>
                  <p:cNvSpPr>
                    <a:spLocks noChangeArrowheads="1"/>
                  </p:cNvSpPr>
                  <p:nvPr/>
                </p:nvSpPr>
                <p:spPr bwMode="auto">
                  <a:xfrm>
                    <a:off x="3457" y="2773"/>
                    <a:ext cx="1" cy="1"/>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83" name="Rectangle 105"/>
                  <p:cNvSpPr>
                    <a:spLocks noChangeArrowheads="1"/>
                  </p:cNvSpPr>
                  <p:nvPr/>
                </p:nvSpPr>
                <p:spPr bwMode="auto">
                  <a:xfrm>
                    <a:off x="3475" y="2767"/>
                    <a:ext cx="6" cy="1"/>
                  </a:xfrm>
                  <a:prstGeom prst="rect">
                    <a:avLst/>
                  </a:prstGeom>
                  <a:solidFill>
                    <a:srgbClr val="008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84" name="Oval 106"/>
                  <p:cNvSpPr>
                    <a:spLocks noChangeArrowheads="1"/>
                  </p:cNvSpPr>
                  <p:nvPr/>
                </p:nvSpPr>
                <p:spPr bwMode="auto">
                  <a:xfrm>
                    <a:off x="3445" y="2767"/>
                    <a:ext cx="1" cy="1"/>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grpSp>
            <p:grpSp>
              <p:nvGrpSpPr>
                <p:cNvPr id="36" name="Group 107"/>
                <p:cNvGrpSpPr>
                  <a:grpSpLocks/>
                </p:cNvGrpSpPr>
                <p:nvPr/>
              </p:nvGrpSpPr>
              <p:grpSpPr bwMode="auto">
                <a:xfrm>
                  <a:off x="3585" y="1167"/>
                  <a:ext cx="282" cy="467"/>
                  <a:chOff x="3333" y="1555"/>
                  <a:chExt cx="199" cy="284"/>
                </a:xfrm>
              </p:grpSpPr>
              <p:sp>
                <p:nvSpPr>
                  <p:cNvPr id="107" name="Freeform 108"/>
                  <p:cNvSpPr>
                    <a:spLocks/>
                  </p:cNvSpPr>
                  <p:nvPr/>
                </p:nvSpPr>
                <p:spPr bwMode="auto">
                  <a:xfrm>
                    <a:off x="3392" y="1574"/>
                    <a:ext cx="134" cy="5"/>
                  </a:xfrm>
                  <a:custGeom>
                    <a:avLst/>
                    <a:gdLst>
                      <a:gd name="T0" fmla="*/ 0 w 1209"/>
                      <a:gd name="T1" fmla="*/ 0 h 46"/>
                      <a:gd name="T2" fmla="*/ 0 w 1209"/>
                      <a:gd name="T3" fmla="*/ 0 h 46"/>
                      <a:gd name="T4" fmla="*/ 0 w 1209"/>
                      <a:gd name="T5" fmla="*/ 0 h 46"/>
                      <a:gd name="T6" fmla="*/ 0 w 1209"/>
                      <a:gd name="T7" fmla="*/ 0 h 46"/>
                      <a:gd name="T8" fmla="*/ 0 w 1209"/>
                      <a:gd name="T9" fmla="*/ 0 h 46"/>
                      <a:gd name="T10" fmla="*/ 0 60000 65536"/>
                      <a:gd name="T11" fmla="*/ 0 60000 65536"/>
                      <a:gd name="T12" fmla="*/ 0 60000 65536"/>
                      <a:gd name="T13" fmla="*/ 0 60000 65536"/>
                      <a:gd name="T14" fmla="*/ 0 60000 65536"/>
                      <a:gd name="T15" fmla="*/ 0 w 1209"/>
                      <a:gd name="T16" fmla="*/ 0 h 46"/>
                      <a:gd name="T17" fmla="*/ 1209 w 1209"/>
                      <a:gd name="T18" fmla="*/ 46 h 46"/>
                    </a:gdLst>
                    <a:ahLst/>
                    <a:cxnLst>
                      <a:cxn ang="T10">
                        <a:pos x="T0" y="T1"/>
                      </a:cxn>
                      <a:cxn ang="T11">
                        <a:pos x="T2" y="T3"/>
                      </a:cxn>
                      <a:cxn ang="T12">
                        <a:pos x="T4" y="T5"/>
                      </a:cxn>
                      <a:cxn ang="T13">
                        <a:pos x="T6" y="T7"/>
                      </a:cxn>
                      <a:cxn ang="T14">
                        <a:pos x="T8" y="T9"/>
                      </a:cxn>
                    </a:cxnLst>
                    <a:rect l="T15" t="T16" r="T17" b="T18"/>
                    <a:pathLst>
                      <a:path w="1209" h="46">
                        <a:moveTo>
                          <a:pt x="0" y="0"/>
                        </a:moveTo>
                        <a:lnTo>
                          <a:pt x="71" y="46"/>
                        </a:lnTo>
                        <a:lnTo>
                          <a:pt x="1209" y="46"/>
                        </a:lnTo>
                        <a:lnTo>
                          <a:pt x="1173" y="0"/>
                        </a:lnTo>
                        <a:lnTo>
                          <a:pt x="0" y="0"/>
                        </a:lnTo>
                        <a:close/>
                      </a:path>
                    </a:pathLst>
                  </a:custGeom>
                  <a:solidFill>
                    <a:srgbClr val="E0E0E0"/>
                  </a:solidFill>
                  <a:ln w="3175">
                    <a:solidFill>
                      <a:srgbClr val="808080"/>
                    </a:solidFill>
                    <a:prstDash val="solid"/>
                    <a:round/>
                    <a:headEnd/>
                    <a:tailEnd/>
                  </a:ln>
                </p:spPr>
                <p:txBody>
                  <a:bodyPr/>
                  <a:lstStyle/>
                  <a:p>
                    <a:endParaRPr lang="en-US" sz="1350"/>
                  </a:p>
                </p:txBody>
              </p:sp>
              <p:sp>
                <p:nvSpPr>
                  <p:cNvPr id="108" name="Freeform 109"/>
                  <p:cNvSpPr>
                    <a:spLocks/>
                  </p:cNvSpPr>
                  <p:nvPr/>
                </p:nvSpPr>
                <p:spPr bwMode="auto">
                  <a:xfrm>
                    <a:off x="3391" y="1573"/>
                    <a:ext cx="34" cy="266"/>
                  </a:xfrm>
                  <a:custGeom>
                    <a:avLst/>
                    <a:gdLst>
                      <a:gd name="T0" fmla="*/ 0 w 306"/>
                      <a:gd name="T1" fmla="*/ 0 h 2389"/>
                      <a:gd name="T2" fmla="*/ 0 w 306"/>
                      <a:gd name="T3" fmla="*/ 0 h 2389"/>
                      <a:gd name="T4" fmla="*/ 0 w 306"/>
                      <a:gd name="T5" fmla="*/ 0 h 2389"/>
                      <a:gd name="T6" fmla="*/ 0 w 306"/>
                      <a:gd name="T7" fmla="*/ 0 h 2389"/>
                      <a:gd name="T8" fmla="*/ 0 w 306"/>
                      <a:gd name="T9" fmla="*/ 0 h 2389"/>
                      <a:gd name="T10" fmla="*/ 0 w 306"/>
                      <a:gd name="T11" fmla="*/ 0 h 2389"/>
                      <a:gd name="T12" fmla="*/ 0 w 306"/>
                      <a:gd name="T13" fmla="*/ 0 h 2389"/>
                      <a:gd name="T14" fmla="*/ 0 60000 65536"/>
                      <a:gd name="T15" fmla="*/ 0 60000 65536"/>
                      <a:gd name="T16" fmla="*/ 0 60000 65536"/>
                      <a:gd name="T17" fmla="*/ 0 60000 65536"/>
                      <a:gd name="T18" fmla="*/ 0 60000 65536"/>
                      <a:gd name="T19" fmla="*/ 0 60000 65536"/>
                      <a:gd name="T20" fmla="*/ 0 60000 65536"/>
                      <a:gd name="T21" fmla="*/ 0 w 306"/>
                      <a:gd name="T22" fmla="*/ 0 h 2389"/>
                      <a:gd name="T23" fmla="*/ 306 w 306"/>
                      <a:gd name="T24" fmla="*/ 2389 h 23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6" h="2389">
                        <a:moveTo>
                          <a:pt x="0" y="2308"/>
                        </a:moveTo>
                        <a:lnTo>
                          <a:pt x="63" y="2389"/>
                        </a:lnTo>
                        <a:lnTo>
                          <a:pt x="306" y="794"/>
                        </a:lnTo>
                        <a:lnTo>
                          <a:pt x="78" y="48"/>
                        </a:lnTo>
                        <a:lnTo>
                          <a:pt x="2" y="0"/>
                        </a:lnTo>
                        <a:lnTo>
                          <a:pt x="0" y="872"/>
                        </a:lnTo>
                        <a:lnTo>
                          <a:pt x="0" y="2308"/>
                        </a:lnTo>
                        <a:close/>
                      </a:path>
                    </a:pathLst>
                  </a:custGeom>
                  <a:solidFill>
                    <a:srgbClr val="A0A0A0"/>
                  </a:solidFill>
                  <a:ln w="3175">
                    <a:solidFill>
                      <a:srgbClr val="808080"/>
                    </a:solidFill>
                    <a:prstDash val="solid"/>
                    <a:round/>
                    <a:headEnd/>
                    <a:tailEnd/>
                  </a:ln>
                </p:spPr>
                <p:txBody>
                  <a:bodyPr/>
                  <a:lstStyle/>
                  <a:p>
                    <a:endParaRPr lang="en-US" sz="1350"/>
                  </a:p>
                </p:txBody>
              </p:sp>
              <p:sp>
                <p:nvSpPr>
                  <p:cNvPr id="109" name="Freeform 110"/>
                  <p:cNvSpPr>
                    <a:spLocks/>
                  </p:cNvSpPr>
                  <p:nvPr/>
                </p:nvSpPr>
                <p:spPr bwMode="auto">
                  <a:xfrm>
                    <a:off x="3333" y="1555"/>
                    <a:ext cx="59" cy="275"/>
                  </a:xfrm>
                  <a:custGeom>
                    <a:avLst/>
                    <a:gdLst>
                      <a:gd name="T0" fmla="*/ 0 w 532"/>
                      <a:gd name="T1" fmla="*/ 0 h 2468"/>
                      <a:gd name="T2" fmla="*/ 0 w 532"/>
                      <a:gd name="T3" fmla="*/ 0 h 2468"/>
                      <a:gd name="T4" fmla="*/ 0 w 532"/>
                      <a:gd name="T5" fmla="*/ 0 h 2468"/>
                      <a:gd name="T6" fmla="*/ 0 w 532"/>
                      <a:gd name="T7" fmla="*/ 0 h 2468"/>
                      <a:gd name="T8" fmla="*/ 0 w 532"/>
                      <a:gd name="T9" fmla="*/ 0 h 2468"/>
                      <a:gd name="T10" fmla="*/ 0 60000 65536"/>
                      <a:gd name="T11" fmla="*/ 0 60000 65536"/>
                      <a:gd name="T12" fmla="*/ 0 60000 65536"/>
                      <a:gd name="T13" fmla="*/ 0 60000 65536"/>
                      <a:gd name="T14" fmla="*/ 0 60000 65536"/>
                      <a:gd name="T15" fmla="*/ 0 w 532"/>
                      <a:gd name="T16" fmla="*/ 0 h 2468"/>
                      <a:gd name="T17" fmla="*/ 532 w 532"/>
                      <a:gd name="T18" fmla="*/ 2468 h 2468"/>
                    </a:gdLst>
                    <a:ahLst/>
                    <a:cxnLst>
                      <a:cxn ang="T10">
                        <a:pos x="T0" y="T1"/>
                      </a:cxn>
                      <a:cxn ang="T11">
                        <a:pos x="T2" y="T3"/>
                      </a:cxn>
                      <a:cxn ang="T12">
                        <a:pos x="T4" y="T5"/>
                      </a:cxn>
                      <a:cxn ang="T13">
                        <a:pos x="T6" y="T7"/>
                      </a:cxn>
                      <a:cxn ang="T14">
                        <a:pos x="T8" y="T9"/>
                      </a:cxn>
                    </a:cxnLst>
                    <a:rect l="T15" t="T16" r="T17" b="T18"/>
                    <a:pathLst>
                      <a:path w="532" h="2468">
                        <a:moveTo>
                          <a:pt x="0" y="0"/>
                        </a:moveTo>
                        <a:lnTo>
                          <a:pt x="532" y="161"/>
                        </a:lnTo>
                        <a:lnTo>
                          <a:pt x="532" y="2468"/>
                        </a:lnTo>
                        <a:lnTo>
                          <a:pt x="0" y="1880"/>
                        </a:lnTo>
                        <a:lnTo>
                          <a:pt x="0" y="0"/>
                        </a:lnTo>
                        <a:close/>
                      </a:path>
                    </a:pathLst>
                  </a:custGeom>
                  <a:solidFill>
                    <a:srgbClr val="A0A0A0"/>
                  </a:solidFill>
                  <a:ln w="3175">
                    <a:solidFill>
                      <a:srgbClr val="808080"/>
                    </a:solidFill>
                    <a:prstDash val="solid"/>
                    <a:round/>
                    <a:headEnd/>
                    <a:tailEnd/>
                  </a:ln>
                </p:spPr>
                <p:txBody>
                  <a:bodyPr/>
                  <a:lstStyle/>
                  <a:p>
                    <a:endParaRPr lang="en-US" sz="1350"/>
                  </a:p>
                </p:txBody>
              </p:sp>
              <p:sp>
                <p:nvSpPr>
                  <p:cNvPr id="110" name="Freeform 111"/>
                  <p:cNvSpPr>
                    <a:spLocks/>
                  </p:cNvSpPr>
                  <p:nvPr/>
                </p:nvSpPr>
                <p:spPr bwMode="auto">
                  <a:xfrm>
                    <a:off x="3333" y="1555"/>
                    <a:ext cx="189" cy="19"/>
                  </a:xfrm>
                  <a:custGeom>
                    <a:avLst/>
                    <a:gdLst>
                      <a:gd name="T0" fmla="*/ 0 w 1705"/>
                      <a:gd name="T1" fmla="*/ 0 h 170"/>
                      <a:gd name="T2" fmla="*/ 0 w 1705"/>
                      <a:gd name="T3" fmla="*/ 0 h 170"/>
                      <a:gd name="T4" fmla="*/ 0 w 1705"/>
                      <a:gd name="T5" fmla="*/ 0 h 170"/>
                      <a:gd name="T6" fmla="*/ 0 w 1705"/>
                      <a:gd name="T7" fmla="*/ 0 h 170"/>
                      <a:gd name="T8" fmla="*/ 0 w 1705"/>
                      <a:gd name="T9" fmla="*/ 0 h 170"/>
                      <a:gd name="T10" fmla="*/ 0 60000 65536"/>
                      <a:gd name="T11" fmla="*/ 0 60000 65536"/>
                      <a:gd name="T12" fmla="*/ 0 60000 65536"/>
                      <a:gd name="T13" fmla="*/ 0 60000 65536"/>
                      <a:gd name="T14" fmla="*/ 0 60000 65536"/>
                      <a:gd name="T15" fmla="*/ 0 w 1705"/>
                      <a:gd name="T16" fmla="*/ 0 h 170"/>
                      <a:gd name="T17" fmla="*/ 1705 w 1705"/>
                      <a:gd name="T18" fmla="*/ 170 h 170"/>
                    </a:gdLst>
                    <a:ahLst/>
                    <a:cxnLst>
                      <a:cxn ang="T10">
                        <a:pos x="T0" y="T1"/>
                      </a:cxn>
                      <a:cxn ang="T11">
                        <a:pos x="T2" y="T3"/>
                      </a:cxn>
                      <a:cxn ang="T12">
                        <a:pos x="T4" y="T5"/>
                      </a:cxn>
                      <a:cxn ang="T13">
                        <a:pos x="T6" y="T7"/>
                      </a:cxn>
                      <a:cxn ang="T14">
                        <a:pos x="T8" y="T9"/>
                      </a:cxn>
                    </a:cxnLst>
                    <a:rect l="T15" t="T16" r="T17" b="T18"/>
                    <a:pathLst>
                      <a:path w="1705" h="170">
                        <a:moveTo>
                          <a:pt x="533" y="170"/>
                        </a:moveTo>
                        <a:lnTo>
                          <a:pt x="1705" y="170"/>
                        </a:lnTo>
                        <a:lnTo>
                          <a:pt x="883" y="0"/>
                        </a:lnTo>
                        <a:lnTo>
                          <a:pt x="0" y="0"/>
                        </a:lnTo>
                        <a:lnTo>
                          <a:pt x="533" y="170"/>
                        </a:lnTo>
                        <a:close/>
                      </a:path>
                    </a:pathLst>
                  </a:custGeom>
                  <a:solidFill>
                    <a:srgbClr val="E0E0E0"/>
                  </a:solidFill>
                  <a:ln w="3175">
                    <a:solidFill>
                      <a:srgbClr val="808080"/>
                    </a:solidFill>
                    <a:prstDash val="solid"/>
                    <a:round/>
                    <a:headEnd/>
                    <a:tailEnd/>
                  </a:ln>
                </p:spPr>
                <p:txBody>
                  <a:bodyPr/>
                  <a:lstStyle/>
                  <a:p>
                    <a:endParaRPr lang="en-US" sz="1350"/>
                  </a:p>
                </p:txBody>
              </p:sp>
              <p:sp>
                <p:nvSpPr>
                  <p:cNvPr id="111" name="Rectangle 112"/>
                  <p:cNvSpPr>
                    <a:spLocks noChangeArrowheads="1"/>
                  </p:cNvSpPr>
                  <p:nvPr/>
                </p:nvSpPr>
                <p:spPr bwMode="auto">
                  <a:xfrm>
                    <a:off x="3399" y="1673"/>
                    <a:ext cx="122" cy="165"/>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12" name="Freeform 113"/>
                  <p:cNvSpPr>
                    <a:spLocks/>
                  </p:cNvSpPr>
                  <p:nvPr/>
                </p:nvSpPr>
                <p:spPr bwMode="auto">
                  <a:xfrm>
                    <a:off x="3399" y="1579"/>
                    <a:ext cx="133" cy="83"/>
                  </a:xfrm>
                  <a:custGeom>
                    <a:avLst/>
                    <a:gdLst>
                      <a:gd name="T0" fmla="*/ 0 w 1190"/>
                      <a:gd name="T1" fmla="*/ 0 h 751"/>
                      <a:gd name="T2" fmla="*/ 0 w 1190"/>
                      <a:gd name="T3" fmla="*/ 0 h 751"/>
                      <a:gd name="T4" fmla="*/ 0 w 1190"/>
                      <a:gd name="T5" fmla="*/ 0 h 751"/>
                      <a:gd name="T6" fmla="*/ 0 w 1190"/>
                      <a:gd name="T7" fmla="*/ 0 h 751"/>
                      <a:gd name="T8" fmla="*/ 0 w 1190"/>
                      <a:gd name="T9" fmla="*/ 0 h 751"/>
                      <a:gd name="T10" fmla="*/ 0 60000 65536"/>
                      <a:gd name="T11" fmla="*/ 0 60000 65536"/>
                      <a:gd name="T12" fmla="*/ 0 60000 65536"/>
                      <a:gd name="T13" fmla="*/ 0 60000 65536"/>
                      <a:gd name="T14" fmla="*/ 0 60000 65536"/>
                      <a:gd name="T15" fmla="*/ 0 w 1190"/>
                      <a:gd name="T16" fmla="*/ 0 h 751"/>
                      <a:gd name="T17" fmla="*/ 1190 w 1190"/>
                      <a:gd name="T18" fmla="*/ 751 h 751"/>
                    </a:gdLst>
                    <a:ahLst/>
                    <a:cxnLst>
                      <a:cxn ang="T10">
                        <a:pos x="T0" y="T1"/>
                      </a:cxn>
                      <a:cxn ang="T11">
                        <a:pos x="T2" y="T3"/>
                      </a:cxn>
                      <a:cxn ang="T12">
                        <a:pos x="T4" y="T5"/>
                      </a:cxn>
                      <a:cxn ang="T13">
                        <a:pos x="T6" y="T7"/>
                      </a:cxn>
                      <a:cxn ang="T14">
                        <a:pos x="T8" y="T9"/>
                      </a:cxn>
                    </a:cxnLst>
                    <a:rect l="T15" t="T16" r="T17" b="T18"/>
                    <a:pathLst>
                      <a:path w="1190" h="751">
                        <a:moveTo>
                          <a:pt x="0" y="0"/>
                        </a:moveTo>
                        <a:lnTo>
                          <a:pt x="1136" y="0"/>
                        </a:lnTo>
                        <a:lnTo>
                          <a:pt x="1190" y="751"/>
                        </a:lnTo>
                        <a:lnTo>
                          <a:pt x="49" y="751"/>
                        </a:lnTo>
                        <a:lnTo>
                          <a:pt x="0" y="0"/>
                        </a:lnTo>
                        <a:close/>
                      </a:path>
                    </a:pathLst>
                  </a:custGeom>
                  <a:solidFill>
                    <a:srgbClr val="C0C0C0"/>
                  </a:solidFill>
                  <a:ln w="3175">
                    <a:solidFill>
                      <a:srgbClr val="808080"/>
                    </a:solidFill>
                    <a:prstDash val="solid"/>
                    <a:round/>
                    <a:headEnd/>
                    <a:tailEnd/>
                  </a:ln>
                </p:spPr>
                <p:txBody>
                  <a:bodyPr/>
                  <a:lstStyle/>
                  <a:p>
                    <a:endParaRPr lang="en-US" sz="1350"/>
                  </a:p>
                </p:txBody>
              </p:sp>
              <p:sp>
                <p:nvSpPr>
                  <p:cNvPr id="113" name="Freeform 114"/>
                  <p:cNvSpPr>
                    <a:spLocks/>
                  </p:cNvSpPr>
                  <p:nvPr/>
                </p:nvSpPr>
                <p:spPr bwMode="auto">
                  <a:xfrm>
                    <a:off x="3398" y="1662"/>
                    <a:ext cx="134" cy="10"/>
                  </a:xfrm>
                  <a:custGeom>
                    <a:avLst/>
                    <a:gdLst>
                      <a:gd name="T0" fmla="*/ 0 w 1204"/>
                      <a:gd name="T1" fmla="*/ 0 h 90"/>
                      <a:gd name="T2" fmla="*/ 0 w 1204"/>
                      <a:gd name="T3" fmla="*/ 0 h 90"/>
                      <a:gd name="T4" fmla="*/ 0 w 1204"/>
                      <a:gd name="T5" fmla="*/ 0 h 90"/>
                      <a:gd name="T6" fmla="*/ 0 w 1204"/>
                      <a:gd name="T7" fmla="*/ 0 h 90"/>
                      <a:gd name="T8" fmla="*/ 0 w 1204"/>
                      <a:gd name="T9" fmla="*/ 0 h 90"/>
                      <a:gd name="T10" fmla="*/ 0 60000 65536"/>
                      <a:gd name="T11" fmla="*/ 0 60000 65536"/>
                      <a:gd name="T12" fmla="*/ 0 60000 65536"/>
                      <a:gd name="T13" fmla="*/ 0 60000 65536"/>
                      <a:gd name="T14" fmla="*/ 0 60000 65536"/>
                      <a:gd name="T15" fmla="*/ 0 w 1204"/>
                      <a:gd name="T16" fmla="*/ 0 h 90"/>
                      <a:gd name="T17" fmla="*/ 1204 w 1204"/>
                      <a:gd name="T18" fmla="*/ 90 h 90"/>
                    </a:gdLst>
                    <a:ahLst/>
                    <a:cxnLst>
                      <a:cxn ang="T10">
                        <a:pos x="T0" y="T1"/>
                      </a:cxn>
                      <a:cxn ang="T11">
                        <a:pos x="T2" y="T3"/>
                      </a:cxn>
                      <a:cxn ang="T12">
                        <a:pos x="T4" y="T5"/>
                      </a:cxn>
                      <a:cxn ang="T13">
                        <a:pos x="T6" y="T7"/>
                      </a:cxn>
                      <a:cxn ang="T14">
                        <a:pos x="T8" y="T9"/>
                      </a:cxn>
                    </a:cxnLst>
                    <a:rect l="T15" t="T16" r="T17" b="T18"/>
                    <a:pathLst>
                      <a:path w="1204" h="90">
                        <a:moveTo>
                          <a:pt x="0" y="90"/>
                        </a:moveTo>
                        <a:lnTo>
                          <a:pt x="1112" y="90"/>
                        </a:lnTo>
                        <a:lnTo>
                          <a:pt x="1204" y="0"/>
                        </a:lnTo>
                        <a:lnTo>
                          <a:pt x="61" y="0"/>
                        </a:lnTo>
                        <a:lnTo>
                          <a:pt x="0" y="90"/>
                        </a:lnTo>
                        <a:close/>
                      </a:path>
                    </a:pathLst>
                  </a:custGeom>
                  <a:solidFill>
                    <a:srgbClr val="A0A0A0"/>
                  </a:solidFill>
                  <a:ln w="3175">
                    <a:solidFill>
                      <a:srgbClr val="808080"/>
                    </a:solidFill>
                    <a:prstDash val="solid"/>
                    <a:round/>
                    <a:headEnd/>
                    <a:tailEnd/>
                  </a:ln>
                </p:spPr>
                <p:txBody>
                  <a:bodyPr/>
                  <a:lstStyle/>
                  <a:p>
                    <a:endParaRPr lang="en-US" sz="1350"/>
                  </a:p>
                </p:txBody>
              </p:sp>
              <p:sp>
                <p:nvSpPr>
                  <p:cNvPr id="114" name="Freeform 115"/>
                  <p:cNvSpPr>
                    <a:spLocks/>
                  </p:cNvSpPr>
                  <p:nvPr/>
                </p:nvSpPr>
                <p:spPr bwMode="auto">
                  <a:xfrm>
                    <a:off x="3400" y="1574"/>
                    <a:ext cx="11" cy="265"/>
                  </a:xfrm>
                  <a:custGeom>
                    <a:avLst/>
                    <a:gdLst>
                      <a:gd name="T0" fmla="*/ 0 w 100"/>
                      <a:gd name="T1" fmla="*/ 0 h 2383"/>
                      <a:gd name="T2" fmla="*/ 0 w 100"/>
                      <a:gd name="T3" fmla="*/ 0 h 2383"/>
                      <a:gd name="T4" fmla="*/ 0 w 100"/>
                      <a:gd name="T5" fmla="*/ 0 h 2383"/>
                      <a:gd name="T6" fmla="*/ 0 w 100"/>
                      <a:gd name="T7" fmla="*/ 0 h 2383"/>
                      <a:gd name="T8" fmla="*/ 0 w 100"/>
                      <a:gd name="T9" fmla="*/ 0 h 2383"/>
                      <a:gd name="T10" fmla="*/ 0 60000 65536"/>
                      <a:gd name="T11" fmla="*/ 0 60000 65536"/>
                      <a:gd name="T12" fmla="*/ 0 60000 65536"/>
                      <a:gd name="T13" fmla="*/ 0 60000 65536"/>
                      <a:gd name="T14" fmla="*/ 0 60000 65536"/>
                      <a:gd name="T15" fmla="*/ 0 w 100"/>
                      <a:gd name="T16" fmla="*/ 0 h 2383"/>
                      <a:gd name="T17" fmla="*/ 100 w 100"/>
                      <a:gd name="T18" fmla="*/ 2383 h 2383"/>
                    </a:gdLst>
                    <a:ahLst/>
                    <a:cxnLst>
                      <a:cxn ang="T10">
                        <a:pos x="T0" y="T1"/>
                      </a:cxn>
                      <a:cxn ang="T11">
                        <a:pos x="T2" y="T3"/>
                      </a:cxn>
                      <a:cxn ang="T12">
                        <a:pos x="T4" y="T5"/>
                      </a:cxn>
                      <a:cxn ang="T13">
                        <a:pos x="T6" y="T7"/>
                      </a:cxn>
                      <a:cxn ang="T14">
                        <a:pos x="T8" y="T9"/>
                      </a:cxn>
                    </a:cxnLst>
                    <a:rect l="T15" t="T16" r="T17" b="T18"/>
                    <a:pathLst>
                      <a:path w="100" h="2383">
                        <a:moveTo>
                          <a:pt x="0" y="0"/>
                        </a:moveTo>
                        <a:lnTo>
                          <a:pt x="51" y="40"/>
                        </a:lnTo>
                        <a:lnTo>
                          <a:pt x="100" y="800"/>
                        </a:lnTo>
                        <a:lnTo>
                          <a:pt x="49" y="886"/>
                        </a:lnTo>
                        <a:lnTo>
                          <a:pt x="47" y="2383"/>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15" name="Freeform 116"/>
                  <p:cNvSpPr>
                    <a:spLocks/>
                  </p:cNvSpPr>
                  <p:nvPr/>
                </p:nvSpPr>
                <p:spPr bwMode="auto">
                  <a:xfrm>
                    <a:off x="3404" y="1574"/>
                    <a:ext cx="10" cy="265"/>
                  </a:xfrm>
                  <a:custGeom>
                    <a:avLst/>
                    <a:gdLst>
                      <a:gd name="T0" fmla="*/ 0 w 94"/>
                      <a:gd name="T1" fmla="*/ 0 h 2383"/>
                      <a:gd name="T2" fmla="*/ 0 w 94"/>
                      <a:gd name="T3" fmla="*/ 0 h 2383"/>
                      <a:gd name="T4" fmla="*/ 0 w 94"/>
                      <a:gd name="T5" fmla="*/ 0 h 2383"/>
                      <a:gd name="T6" fmla="*/ 0 w 94"/>
                      <a:gd name="T7" fmla="*/ 0 h 2383"/>
                      <a:gd name="T8" fmla="*/ 0 w 94"/>
                      <a:gd name="T9" fmla="*/ 0 h 2383"/>
                      <a:gd name="T10" fmla="*/ 0 60000 65536"/>
                      <a:gd name="T11" fmla="*/ 0 60000 65536"/>
                      <a:gd name="T12" fmla="*/ 0 60000 65536"/>
                      <a:gd name="T13" fmla="*/ 0 60000 65536"/>
                      <a:gd name="T14" fmla="*/ 0 60000 65536"/>
                      <a:gd name="T15" fmla="*/ 0 w 94"/>
                      <a:gd name="T16" fmla="*/ 0 h 2383"/>
                      <a:gd name="T17" fmla="*/ 94 w 94"/>
                      <a:gd name="T18" fmla="*/ 2383 h 2383"/>
                    </a:gdLst>
                    <a:ahLst/>
                    <a:cxnLst>
                      <a:cxn ang="T10">
                        <a:pos x="T0" y="T1"/>
                      </a:cxn>
                      <a:cxn ang="T11">
                        <a:pos x="T2" y="T3"/>
                      </a:cxn>
                      <a:cxn ang="T12">
                        <a:pos x="T4" y="T5"/>
                      </a:cxn>
                      <a:cxn ang="T13">
                        <a:pos x="T6" y="T7"/>
                      </a:cxn>
                      <a:cxn ang="T14">
                        <a:pos x="T8" y="T9"/>
                      </a:cxn>
                    </a:cxnLst>
                    <a:rect l="T15" t="T16" r="T17" b="T18"/>
                    <a:pathLst>
                      <a:path w="94" h="2383">
                        <a:moveTo>
                          <a:pt x="0" y="0"/>
                        </a:moveTo>
                        <a:lnTo>
                          <a:pt x="45" y="40"/>
                        </a:lnTo>
                        <a:lnTo>
                          <a:pt x="94" y="799"/>
                        </a:lnTo>
                        <a:lnTo>
                          <a:pt x="44" y="885"/>
                        </a:lnTo>
                        <a:lnTo>
                          <a:pt x="42" y="2383"/>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16" name="Freeform 117"/>
                  <p:cNvSpPr>
                    <a:spLocks/>
                  </p:cNvSpPr>
                  <p:nvPr/>
                </p:nvSpPr>
                <p:spPr bwMode="auto">
                  <a:xfrm>
                    <a:off x="3407" y="1574"/>
                    <a:ext cx="11" cy="265"/>
                  </a:xfrm>
                  <a:custGeom>
                    <a:avLst/>
                    <a:gdLst>
                      <a:gd name="T0" fmla="*/ 0 w 100"/>
                      <a:gd name="T1" fmla="*/ 0 h 2383"/>
                      <a:gd name="T2" fmla="*/ 0 w 100"/>
                      <a:gd name="T3" fmla="*/ 0 h 2383"/>
                      <a:gd name="T4" fmla="*/ 0 w 100"/>
                      <a:gd name="T5" fmla="*/ 0 h 2383"/>
                      <a:gd name="T6" fmla="*/ 0 w 100"/>
                      <a:gd name="T7" fmla="*/ 0 h 2383"/>
                      <a:gd name="T8" fmla="*/ 0 w 100"/>
                      <a:gd name="T9" fmla="*/ 0 h 2383"/>
                      <a:gd name="T10" fmla="*/ 0 60000 65536"/>
                      <a:gd name="T11" fmla="*/ 0 60000 65536"/>
                      <a:gd name="T12" fmla="*/ 0 60000 65536"/>
                      <a:gd name="T13" fmla="*/ 0 60000 65536"/>
                      <a:gd name="T14" fmla="*/ 0 60000 65536"/>
                      <a:gd name="T15" fmla="*/ 0 w 100"/>
                      <a:gd name="T16" fmla="*/ 0 h 2383"/>
                      <a:gd name="T17" fmla="*/ 100 w 100"/>
                      <a:gd name="T18" fmla="*/ 2383 h 2383"/>
                    </a:gdLst>
                    <a:ahLst/>
                    <a:cxnLst>
                      <a:cxn ang="T10">
                        <a:pos x="T0" y="T1"/>
                      </a:cxn>
                      <a:cxn ang="T11">
                        <a:pos x="T2" y="T3"/>
                      </a:cxn>
                      <a:cxn ang="T12">
                        <a:pos x="T4" y="T5"/>
                      </a:cxn>
                      <a:cxn ang="T13">
                        <a:pos x="T6" y="T7"/>
                      </a:cxn>
                      <a:cxn ang="T14">
                        <a:pos x="T8" y="T9"/>
                      </a:cxn>
                    </a:cxnLst>
                    <a:rect l="T15" t="T16" r="T17" b="T18"/>
                    <a:pathLst>
                      <a:path w="100" h="2383">
                        <a:moveTo>
                          <a:pt x="0" y="0"/>
                        </a:moveTo>
                        <a:lnTo>
                          <a:pt x="49" y="40"/>
                        </a:lnTo>
                        <a:lnTo>
                          <a:pt x="100" y="793"/>
                        </a:lnTo>
                        <a:lnTo>
                          <a:pt x="46" y="878"/>
                        </a:lnTo>
                        <a:lnTo>
                          <a:pt x="46" y="2383"/>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17" name="Freeform 118"/>
                  <p:cNvSpPr>
                    <a:spLocks/>
                  </p:cNvSpPr>
                  <p:nvPr/>
                </p:nvSpPr>
                <p:spPr bwMode="auto">
                  <a:xfrm>
                    <a:off x="3411" y="1574"/>
                    <a:ext cx="11" cy="264"/>
                  </a:xfrm>
                  <a:custGeom>
                    <a:avLst/>
                    <a:gdLst>
                      <a:gd name="T0" fmla="*/ 0 w 95"/>
                      <a:gd name="T1" fmla="*/ 0 h 2377"/>
                      <a:gd name="T2" fmla="*/ 0 w 95"/>
                      <a:gd name="T3" fmla="*/ 0 h 2377"/>
                      <a:gd name="T4" fmla="*/ 0 w 95"/>
                      <a:gd name="T5" fmla="*/ 0 h 2377"/>
                      <a:gd name="T6" fmla="*/ 0 w 95"/>
                      <a:gd name="T7" fmla="*/ 0 h 2377"/>
                      <a:gd name="T8" fmla="*/ 0 w 95"/>
                      <a:gd name="T9" fmla="*/ 0 h 2377"/>
                      <a:gd name="T10" fmla="*/ 0 60000 65536"/>
                      <a:gd name="T11" fmla="*/ 0 60000 65536"/>
                      <a:gd name="T12" fmla="*/ 0 60000 65536"/>
                      <a:gd name="T13" fmla="*/ 0 60000 65536"/>
                      <a:gd name="T14" fmla="*/ 0 60000 65536"/>
                      <a:gd name="T15" fmla="*/ 0 w 95"/>
                      <a:gd name="T16" fmla="*/ 0 h 2377"/>
                      <a:gd name="T17" fmla="*/ 95 w 95"/>
                      <a:gd name="T18" fmla="*/ 2377 h 2377"/>
                    </a:gdLst>
                    <a:ahLst/>
                    <a:cxnLst>
                      <a:cxn ang="T10">
                        <a:pos x="T0" y="T1"/>
                      </a:cxn>
                      <a:cxn ang="T11">
                        <a:pos x="T2" y="T3"/>
                      </a:cxn>
                      <a:cxn ang="T12">
                        <a:pos x="T4" y="T5"/>
                      </a:cxn>
                      <a:cxn ang="T13">
                        <a:pos x="T6" y="T7"/>
                      </a:cxn>
                      <a:cxn ang="T14">
                        <a:pos x="T8" y="T9"/>
                      </a:cxn>
                    </a:cxnLst>
                    <a:rect l="T15" t="T16" r="T17" b="T18"/>
                    <a:pathLst>
                      <a:path w="95" h="2377">
                        <a:moveTo>
                          <a:pt x="0" y="0"/>
                        </a:moveTo>
                        <a:lnTo>
                          <a:pt x="46" y="35"/>
                        </a:lnTo>
                        <a:lnTo>
                          <a:pt x="95" y="793"/>
                        </a:lnTo>
                        <a:lnTo>
                          <a:pt x="44" y="880"/>
                        </a:lnTo>
                        <a:lnTo>
                          <a:pt x="42" y="2377"/>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18" name="Freeform 119"/>
                  <p:cNvSpPr>
                    <a:spLocks/>
                  </p:cNvSpPr>
                  <p:nvPr/>
                </p:nvSpPr>
                <p:spPr bwMode="auto">
                  <a:xfrm>
                    <a:off x="3415" y="1574"/>
                    <a:ext cx="11" cy="264"/>
                  </a:xfrm>
                  <a:custGeom>
                    <a:avLst/>
                    <a:gdLst>
                      <a:gd name="T0" fmla="*/ 0 w 95"/>
                      <a:gd name="T1" fmla="*/ 0 h 2375"/>
                      <a:gd name="T2" fmla="*/ 0 w 95"/>
                      <a:gd name="T3" fmla="*/ 0 h 2375"/>
                      <a:gd name="T4" fmla="*/ 0 w 95"/>
                      <a:gd name="T5" fmla="*/ 0 h 2375"/>
                      <a:gd name="T6" fmla="*/ 0 w 95"/>
                      <a:gd name="T7" fmla="*/ 0 h 2375"/>
                      <a:gd name="T8" fmla="*/ 0 w 95"/>
                      <a:gd name="T9" fmla="*/ 0 h 2375"/>
                      <a:gd name="T10" fmla="*/ 0 60000 65536"/>
                      <a:gd name="T11" fmla="*/ 0 60000 65536"/>
                      <a:gd name="T12" fmla="*/ 0 60000 65536"/>
                      <a:gd name="T13" fmla="*/ 0 60000 65536"/>
                      <a:gd name="T14" fmla="*/ 0 60000 65536"/>
                      <a:gd name="T15" fmla="*/ 0 w 95"/>
                      <a:gd name="T16" fmla="*/ 0 h 2375"/>
                      <a:gd name="T17" fmla="*/ 95 w 95"/>
                      <a:gd name="T18" fmla="*/ 2375 h 2375"/>
                    </a:gdLst>
                    <a:ahLst/>
                    <a:cxnLst>
                      <a:cxn ang="T10">
                        <a:pos x="T0" y="T1"/>
                      </a:cxn>
                      <a:cxn ang="T11">
                        <a:pos x="T2" y="T3"/>
                      </a:cxn>
                      <a:cxn ang="T12">
                        <a:pos x="T4" y="T5"/>
                      </a:cxn>
                      <a:cxn ang="T13">
                        <a:pos x="T6" y="T7"/>
                      </a:cxn>
                      <a:cxn ang="T14">
                        <a:pos x="T8" y="T9"/>
                      </a:cxn>
                    </a:cxnLst>
                    <a:rect l="T15" t="T16" r="T17" b="T18"/>
                    <a:pathLst>
                      <a:path w="95" h="2375">
                        <a:moveTo>
                          <a:pt x="0" y="0"/>
                        </a:moveTo>
                        <a:lnTo>
                          <a:pt x="46" y="46"/>
                        </a:lnTo>
                        <a:lnTo>
                          <a:pt x="95" y="792"/>
                        </a:lnTo>
                        <a:lnTo>
                          <a:pt x="43" y="878"/>
                        </a:lnTo>
                        <a:lnTo>
                          <a:pt x="41" y="2375"/>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19" name="Freeform 120"/>
                  <p:cNvSpPr>
                    <a:spLocks/>
                  </p:cNvSpPr>
                  <p:nvPr/>
                </p:nvSpPr>
                <p:spPr bwMode="auto">
                  <a:xfrm>
                    <a:off x="3420" y="1574"/>
                    <a:ext cx="10" cy="264"/>
                  </a:xfrm>
                  <a:custGeom>
                    <a:avLst/>
                    <a:gdLst>
                      <a:gd name="T0" fmla="*/ 0 w 91"/>
                      <a:gd name="T1" fmla="*/ 0 h 2376"/>
                      <a:gd name="T2" fmla="*/ 0 w 91"/>
                      <a:gd name="T3" fmla="*/ 0 h 2376"/>
                      <a:gd name="T4" fmla="*/ 0 w 91"/>
                      <a:gd name="T5" fmla="*/ 0 h 2376"/>
                      <a:gd name="T6" fmla="*/ 0 w 91"/>
                      <a:gd name="T7" fmla="*/ 0 h 2376"/>
                      <a:gd name="T8" fmla="*/ 0 w 91"/>
                      <a:gd name="T9" fmla="*/ 0 h 2376"/>
                      <a:gd name="T10" fmla="*/ 0 60000 65536"/>
                      <a:gd name="T11" fmla="*/ 0 60000 65536"/>
                      <a:gd name="T12" fmla="*/ 0 60000 65536"/>
                      <a:gd name="T13" fmla="*/ 0 60000 65536"/>
                      <a:gd name="T14" fmla="*/ 0 60000 65536"/>
                      <a:gd name="T15" fmla="*/ 0 w 91"/>
                      <a:gd name="T16" fmla="*/ 0 h 2376"/>
                      <a:gd name="T17" fmla="*/ 91 w 91"/>
                      <a:gd name="T18" fmla="*/ 2376 h 2376"/>
                    </a:gdLst>
                    <a:ahLst/>
                    <a:cxnLst>
                      <a:cxn ang="T10">
                        <a:pos x="T0" y="T1"/>
                      </a:cxn>
                      <a:cxn ang="T11">
                        <a:pos x="T2" y="T3"/>
                      </a:cxn>
                      <a:cxn ang="T12">
                        <a:pos x="T4" y="T5"/>
                      </a:cxn>
                      <a:cxn ang="T13">
                        <a:pos x="T6" y="T7"/>
                      </a:cxn>
                      <a:cxn ang="T14">
                        <a:pos x="T8" y="T9"/>
                      </a:cxn>
                    </a:cxnLst>
                    <a:rect l="T15" t="T16" r="T17" b="T18"/>
                    <a:pathLst>
                      <a:path w="91" h="2376">
                        <a:moveTo>
                          <a:pt x="0" y="0"/>
                        </a:moveTo>
                        <a:lnTo>
                          <a:pt x="42" y="40"/>
                        </a:lnTo>
                        <a:lnTo>
                          <a:pt x="91" y="791"/>
                        </a:lnTo>
                        <a:lnTo>
                          <a:pt x="39" y="878"/>
                        </a:lnTo>
                        <a:lnTo>
                          <a:pt x="37" y="2376"/>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20" name="Freeform 121"/>
                  <p:cNvSpPr>
                    <a:spLocks/>
                  </p:cNvSpPr>
                  <p:nvPr/>
                </p:nvSpPr>
                <p:spPr bwMode="auto">
                  <a:xfrm>
                    <a:off x="3423" y="1574"/>
                    <a:ext cx="11" cy="265"/>
                  </a:xfrm>
                  <a:custGeom>
                    <a:avLst/>
                    <a:gdLst>
                      <a:gd name="T0" fmla="*/ 0 w 92"/>
                      <a:gd name="T1" fmla="*/ 0 h 2381"/>
                      <a:gd name="T2" fmla="*/ 0 w 92"/>
                      <a:gd name="T3" fmla="*/ 0 h 2381"/>
                      <a:gd name="T4" fmla="*/ 0 w 92"/>
                      <a:gd name="T5" fmla="*/ 0 h 2381"/>
                      <a:gd name="T6" fmla="*/ 0 w 92"/>
                      <a:gd name="T7" fmla="*/ 0 h 2381"/>
                      <a:gd name="T8" fmla="*/ 0 w 92"/>
                      <a:gd name="T9" fmla="*/ 0 h 2381"/>
                      <a:gd name="T10" fmla="*/ 0 60000 65536"/>
                      <a:gd name="T11" fmla="*/ 0 60000 65536"/>
                      <a:gd name="T12" fmla="*/ 0 60000 65536"/>
                      <a:gd name="T13" fmla="*/ 0 60000 65536"/>
                      <a:gd name="T14" fmla="*/ 0 60000 65536"/>
                      <a:gd name="T15" fmla="*/ 0 w 92"/>
                      <a:gd name="T16" fmla="*/ 0 h 2381"/>
                      <a:gd name="T17" fmla="*/ 92 w 92"/>
                      <a:gd name="T18" fmla="*/ 2381 h 2381"/>
                    </a:gdLst>
                    <a:ahLst/>
                    <a:cxnLst>
                      <a:cxn ang="T10">
                        <a:pos x="T0" y="T1"/>
                      </a:cxn>
                      <a:cxn ang="T11">
                        <a:pos x="T2" y="T3"/>
                      </a:cxn>
                      <a:cxn ang="T12">
                        <a:pos x="T4" y="T5"/>
                      </a:cxn>
                      <a:cxn ang="T13">
                        <a:pos x="T6" y="T7"/>
                      </a:cxn>
                      <a:cxn ang="T14">
                        <a:pos x="T8" y="T9"/>
                      </a:cxn>
                    </a:cxnLst>
                    <a:rect l="T15" t="T16" r="T17" b="T18"/>
                    <a:pathLst>
                      <a:path w="92" h="2381">
                        <a:moveTo>
                          <a:pt x="0" y="0"/>
                        </a:moveTo>
                        <a:lnTo>
                          <a:pt x="41" y="42"/>
                        </a:lnTo>
                        <a:lnTo>
                          <a:pt x="92" y="784"/>
                        </a:lnTo>
                        <a:lnTo>
                          <a:pt x="37" y="876"/>
                        </a:lnTo>
                        <a:lnTo>
                          <a:pt x="37" y="2381"/>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21" name="Freeform 122"/>
                  <p:cNvSpPr>
                    <a:spLocks/>
                  </p:cNvSpPr>
                  <p:nvPr/>
                </p:nvSpPr>
                <p:spPr bwMode="auto">
                  <a:xfrm>
                    <a:off x="3427" y="1574"/>
                    <a:ext cx="10" cy="264"/>
                  </a:xfrm>
                  <a:custGeom>
                    <a:avLst/>
                    <a:gdLst>
                      <a:gd name="T0" fmla="*/ 0 w 91"/>
                      <a:gd name="T1" fmla="*/ 0 h 2369"/>
                      <a:gd name="T2" fmla="*/ 0 w 91"/>
                      <a:gd name="T3" fmla="*/ 0 h 2369"/>
                      <a:gd name="T4" fmla="*/ 0 w 91"/>
                      <a:gd name="T5" fmla="*/ 0 h 2369"/>
                      <a:gd name="T6" fmla="*/ 0 w 91"/>
                      <a:gd name="T7" fmla="*/ 0 h 2369"/>
                      <a:gd name="T8" fmla="*/ 0 w 91"/>
                      <a:gd name="T9" fmla="*/ 0 h 2369"/>
                      <a:gd name="T10" fmla="*/ 0 60000 65536"/>
                      <a:gd name="T11" fmla="*/ 0 60000 65536"/>
                      <a:gd name="T12" fmla="*/ 0 60000 65536"/>
                      <a:gd name="T13" fmla="*/ 0 60000 65536"/>
                      <a:gd name="T14" fmla="*/ 0 60000 65536"/>
                      <a:gd name="T15" fmla="*/ 0 w 91"/>
                      <a:gd name="T16" fmla="*/ 0 h 2369"/>
                      <a:gd name="T17" fmla="*/ 91 w 91"/>
                      <a:gd name="T18" fmla="*/ 2369 h 2369"/>
                    </a:gdLst>
                    <a:ahLst/>
                    <a:cxnLst>
                      <a:cxn ang="T10">
                        <a:pos x="T0" y="T1"/>
                      </a:cxn>
                      <a:cxn ang="T11">
                        <a:pos x="T2" y="T3"/>
                      </a:cxn>
                      <a:cxn ang="T12">
                        <a:pos x="T4" y="T5"/>
                      </a:cxn>
                      <a:cxn ang="T13">
                        <a:pos x="T6" y="T7"/>
                      </a:cxn>
                      <a:cxn ang="T14">
                        <a:pos x="T8" y="T9"/>
                      </a:cxn>
                    </a:cxnLst>
                    <a:rect l="T15" t="T16" r="T17" b="T18"/>
                    <a:pathLst>
                      <a:path w="91" h="2369">
                        <a:moveTo>
                          <a:pt x="0" y="0"/>
                        </a:moveTo>
                        <a:lnTo>
                          <a:pt x="42" y="40"/>
                        </a:lnTo>
                        <a:lnTo>
                          <a:pt x="91" y="786"/>
                        </a:lnTo>
                        <a:lnTo>
                          <a:pt x="41" y="872"/>
                        </a:lnTo>
                        <a:lnTo>
                          <a:pt x="39" y="2369"/>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22" name="Rectangle 123"/>
                  <p:cNvSpPr>
                    <a:spLocks noChangeArrowheads="1"/>
                  </p:cNvSpPr>
                  <p:nvPr/>
                </p:nvSpPr>
                <p:spPr bwMode="auto">
                  <a:xfrm>
                    <a:off x="3434" y="1693"/>
                    <a:ext cx="76" cy="124"/>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23" name="Rectangle 124"/>
                  <p:cNvSpPr>
                    <a:spLocks noChangeArrowheads="1"/>
                  </p:cNvSpPr>
                  <p:nvPr/>
                </p:nvSpPr>
                <p:spPr bwMode="auto">
                  <a:xfrm>
                    <a:off x="3434" y="1723"/>
                    <a:ext cx="76" cy="16"/>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24" name="Rectangle 125"/>
                  <p:cNvSpPr>
                    <a:spLocks noChangeArrowheads="1"/>
                  </p:cNvSpPr>
                  <p:nvPr/>
                </p:nvSpPr>
                <p:spPr bwMode="auto">
                  <a:xfrm>
                    <a:off x="3434" y="1747"/>
                    <a:ext cx="76" cy="16"/>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25" name="Rectangle 126"/>
                  <p:cNvSpPr>
                    <a:spLocks noChangeArrowheads="1"/>
                  </p:cNvSpPr>
                  <p:nvPr/>
                </p:nvSpPr>
                <p:spPr bwMode="auto">
                  <a:xfrm>
                    <a:off x="3434" y="1771"/>
                    <a:ext cx="76" cy="22"/>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26" name="Rectangle 127"/>
                  <p:cNvSpPr>
                    <a:spLocks noChangeArrowheads="1"/>
                  </p:cNvSpPr>
                  <p:nvPr/>
                </p:nvSpPr>
                <p:spPr bwMode="auto">
                  <a:xfrm>
                    <a:off x="3452" y="1723"/>
                    <a:ext cx="46" cy="10"/>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27" name="Rectangle 128"/>
                  <p:cNvSpPr>
                    <a:spLocks noChangeArrowheads="1"/>
                  </p:cNvSpPr>
                  <p:nvPr/>
                </p:nvSpPr>
                <p:spPr bwMode="auto">
                  <a:xfrm>
                    <a:off x="3452" y="1753"/>
                    <a:ext cx="46" cy="10"/>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28" name="Freeform 129"/>
                  <p:cNvSpPr>
                    <a:spLocks/>
                  </p:cNvSpPr>
                  <p:nvPr/>
                </p:nvSpPr>
                <p:spPr bwMode="auto">
                  <a:xfrm>
                    <a:off x="3486" y="1696"/>
                    <a:ext cx="4" cy="17"/>
                  </a:xfrm>
                  <a:custGeom>
                    <a:avLst/>
                    <a:gdLst>
                      <a:gd name="T0" fmla="*/ 0 w 32"/>
                      <a:gd name="T1" fmla="*/ 0 h 152"/>
                      <a:gd name="T2" fmla="*/ 0 w 32"/>
                      <a:gd name="T3" fmla="*/ 0 h 152"/>
                      <a:gd name="T4" fmla="*/ 0 w 32"/>
                      <a:gd name="T5" fmla="*/ 0 h 152"/>
                      <a:gd name="T6" fmla="*/ 0 w 32"/>
                      <a:gd name="T7" fmla="*/ 0 h 152"/>
                      <a:gd name="T8" fmla="*/ 0 60000 65536"/>
                      <a:gd name="T9" fmla="*/ 0 60000 65536"/>
                      <a:gd name="T10" fmla="*/ 0 60000 65536"/>
                      <a:gd name="T11" fmla="*/ 0 60000 65536"/>
                      <a:gd name="T12" fmla="*/ 0 w 32"/>
                      <a:gd name="T13" fmla="*/ 0 h 152"/>
                      <a:gd name="T14" fmla="*/ 32 w 32"/>
                      <a:gd name="T15" fmla="*/ 152 h 152"/>
                    </a:gdLst>
                    <a:ahLst/>
                    <a:cxnLst>
                      <a:cxn ang="T8">
                        <a:pos x="T0" y="T1"/>
                      </a:cxn>
                      <a:cxn ang="T9">
                        <a:pos x="T2" y="T3"/>
                      </a:cxn>
                      <a:cxn ang="T10">
                        <a:pos x="T4" y="T5"/>
                      </a:cxn>
                      <a:cxn ang="T11">
                        <a:pos x="T6" y="T7"/>
                      </a:cxn>
                    </a:cxnLst>
                    <a:rect l="T12" t="T13" r="T14" b="T15"/>
                    <a:pathLst>
                      <a:path w="32" h="152">
                        <a:moveTo>
                          <a:pt x="32" y="0"/>
                        </a:moveTo>
                        <a:lnTo>
                          <a:pt x="32" y="152"/>
                        </a:lnTo>
                        <a:lnTo>
                          <a:pt x="0" y="66"/>
                        </a:lnTo>
                        <a:lnTo>
                          <a:pt x="32"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29" name="Rectangle 130"/>
                  <p:cNvSpPr>
                    <a:spLocks noChangeArrowheads="1"/>
                  </p:cNvSpPr>
                  <p:nvPr/>
                </p:nvSpPr>
                <p:spPr bwMode="auto">
                  <a:xfrm>
                    <a:off x="3434" y="1693"/>
                    <a:ext cx="76" cy="22"/>
                  </a:xfrm>
                  <a:prstGeom prst="rect">
                    <a:avLst/>
                  </a:prstGeom>
                  <a:solidFill>
                    <a:srgbClr val="A0A0A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30" name="Freeform 131"/>
                  <p:cNvSpPr>
                    <a:spLocks/>
                  </p:cNvSpPr>
                  <p:nvPr/>
                </p:nvSpPr>
                <p:spPr bwMode="auto">
                  <a:xfrm>
                    <a:off x="3473" y="1696"/>
                    <a:ext cx="17" cy="8"/>
                  </a:xfrm>
                  <a:custGeom>
                    <a:avLst/>
                    <a:gdLst>
                      <a:gd name="T0" fmla="*/ 0 w 149"/>
                      <a:gd name="T1" fmla="*/ 0 h 69"/>
                      <a:gd name="T2" fmla="*/ 0 w 149"/>
                      <a:gd name="T3" fmla="*/ 0 h 69"/>
                      <a:gd name="T4" fmla="*/ 0 w 149"/>
                      <a:gd name="T5" fmla="*/ 0 h 69"/>
                      <a:gd name="T6" fmla="*/ 0 w 149"/>
                      <a:gd name="T7" fmla="*/ 0 h 69"/>
                      <a:gd name="T8" fmla="*/ 0 w 149"/>
                      <a:gd name="T9" fmla="*/ 0 h 69"/>
                      <a:gd name="T10" fmla="*/ 0 60000 65536"/>
                      <a:gd name="T11" fmla="*/ 0 60000 65536"/>
                      <a:gd name="T12" fmla="*/ 0 60000 65536"/>
                      <a:gd name="T13" fmla="*/ 0 60000 65536"/>
                      <a:gd name="T14" fmla="*/ 0 60000 65536"/>
                      <a:gd name="T15" fmla="*/ 0 w 149"/>
                      <a:gd name="T16" fmla="*/ 0 h 69"/>
                      <a:gd name="T17" fmla="*/ 149 w 149"/>
                      <a:gd name="T18" fmla="*/ 69 h 69"/>
                    </a:gdLst>
                    <a:ahLst/>
                    <a:cxnLst>
                      <a:cxn ang="T10">
                        <a:pos x="T0" y="T1"/>
                      </a:cxn>
                      <a:cxn ang="T11">
                        <a:pos x="T2" y="T3"/>
                      </a:cxn>
                      <a:cxn ang="T12">
                        <a:pos x="T4" y="T5"/>
                      </a:cxn>
                      <a:cxn ang="T13">
                        <a:pos x="T6" y="T7"/>
                      </a:cxn>
                      <a:cxn ang="T14">
                        <a:pos x="T8" y="T9"/>
                      </a:cxn>
                    </a:cxnLst>
                    <a:rect l="T15" t="T16" r="T17" b="T18"/>
                    <a:pathLst>
                      <a:path w="149" h="69">
                        <a:moveTo>
                          <a:pt x="149" y="0"/>
                        </a:moveTo>
                        <a:lnTo>
                          <a:pt x="9" y="0"/>
                        </a:lnTo>
                        <a:lnTo>
                          <a:pt x="0" y="69"/>
                        </a:lnTo>
                        <a:lnTo>
                          <a:pt x="132" y="67"/>
                        </a:lnTo>
                        <a:lnTo>
                          <a:pt x="149"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31" name="Freeform 132"/>
                  <p:cNvSpPr>
                    <a:spLocks/>
                  </p:cNvSpPr>
                  <p:nvPr/>
                </p:nvSpPr>
                <p:spPr bwMode="auto">
                  <a:xfrm>
                    <a:off x="3473" y="1706"/>
                    <a:ext cx="37" cy="8"/>
                  </a:xfrm>
                  <a:custGeom>
                    <a:avLst/>
                    <a:gdLst>
                      <a:gd name="T0" fmla="*/ 0 w 335"/>
                      <a:gd name="T1" fmla="*/ 0 h 67"/>
                      <a:gd name="T2" fmla="*/ 0 w 335"/>
                      <a:gd name="T3" fmla="*/ 0 h 67"/>
                      <a:gd name="T4" fmla="*/ 0 w 335"/>
                      <a:gd name="T5" fmla="*/ 0 h 67"/>
                      <a:gd name="T6" fmla="*/ 0 w 335"/>
                      <a:gd name="T7" fmla="*/ 0 h 67"/>
                      <a:gd name="T8" fmla="*/ 0 w 335"/>
                      <a:gd name="T9" fmla="*/ 0 h 67"/>
                      <a:gd name="T10" fmla="*/ 0 60000 65536"/>
                      <a:gd name="T11" fmla="*/ 0 60000 65536"/>
                      <a:gd name="T12" fmla="*/ 0 60000 65536"/>
                      <a:gd name="T13" fmla="*/ 0 60000 65536"/>
                      <a:gd name="T14" fmla="*/ 0 60000 65536"/>
                      <a:gd name="T15" fmla="*/ 0 w 335"/>
                      <a:gd name="T16" fmla="*/ 0 h 67"/>
                      <a:gd name="T17" fmla="*/ 335 w 335"/>
                      <a:gd name="T18" fmla="*/ 67 h 67"/>
                    </a:gdLst>
                    <a:ahLst/>
                    <a:cxnLst>
                      <a:cxn ang="T10">
                        <a:pos x="T0" y="T1"/>
                      </a:cxn>
                      <a:cxn ang="T11">
                        <a:pos x="T2" y="T3"/>
                      </a:cxn>
                      <a:cxn ang="T12">
                        <a:pos x="T4" y="T5"/>
                      </a:cxn>
                      <a:cxn ang="T13">
                        <a:pos x="T6" y="T7"/>
                      </a:cxn>
                      <a:cxn ang="T14">
                        <a:pos x="T8" y="T9"/>
                      </a:cxn>
                    </a:cxnLst>
                    <a:rect l="T15" t="T16" r="T17" b="T18"/>
                    <a:pathLst>
                      <a:path w="335" h="67">
                        <a:moveTo>
                          <a:pt x="335" y="67"/>
                        </a:moveTo>
                        <a:lnTo>
                          <a:pt x="9" y="67"/>
                        </a:lnTo>
                        <a:lnTo>
                          <a:pt x="0" y="0"/>
                        </a:lnTo>
                        <a:lnTo>
                          <a:pt x="318" y="0"/>
                        </a:lnTo>
                        <a:lnTo>
                          <a:pt x="335" y="67"/>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32" name="Freeform 133"/>
                  <p:cNvSpPr>
                    <a:spLocks/>
                  </p:cNvSpPr>
                  <p:nvPr/>
                </p:nvSpPr>
                <p:spPr bwMode="auto">
                  <a:xfrm>
                    <a:off x="3489" y="1700"/>
                    <a:ext cx="21" cy="4"/>
                  </a:xfrm>
                  <a:custGeom>
                    <a:avLst/>
                    <a:gdLst>
                      <a:gd name="T0" fmla="*/ 0 w 196"/>
                      <a:gd name="T1" fmla="*/ 0 h 36"/>
                      <a:gd name="T2" fmla="*/ 0 w 196"/>
                      <a:gd name="T3" fmla="*/ 0 h 36"/>
                      <a:gd name="T4" fmla="*/ 0 w 196"/>
                      <a:gd name="T5" fmla="*/ 0 h 36"/>
                      <a:gd name="T6" fmla="*/ 0 w 196"/>
                      <a:gd name="T7" fmla="*/ 0 h 36"/>
                      <a:gd name="T8" fmla="*/ 0 w 196"/>
                      <a:gd name="T9" fmla="*/ 0 h 36"/>
                      <a:gd name="T10" fmla="*/ 0 60000 65536"/>
                      <a:gd name="T11" fmla="*/ 0 60000 65536"/>
                      <a:gd name="T12" fmla="*/ 0 60000 65536"/>
                      <a:gd name="T13" fmla="*/ 0 60000 65536"/>
                      <a:gd name="T14" fmla="*/ 0 60000 65536"/>
                      <a:gd name="T15" fmla="*/ 0 w 196"/>
                      <a:gd name="T16" fmla="*/ 0 h 36"/>
                      <a:gd name="T17" fmla="*/ 196 w 196"/>
                      <a:gd name="T18" fmla="*/ 36 h 36"/>
                    </a:gdLst>
                    <a:ahLst/>
                    <a:cxnLst>
                      <a:cxn ang="T10">
                        <a:pos x="T0" y="T1"/>
                      </a:cxn>
                      <a:cxn ang="T11">
                        <a:pos x="T2" y="T3"/>
                      </a:cxn>
                      <a:cxn ang="T12">
                        <a:pos x="T4" y="T5"/>
                      </a:cxn>
                      <a:cxn ang="T13">
                        <a:pos x="T6" y="T7"/>
                      </a:cxn>
                      <a:cxn ang="T14">
                        <a:pos x="T8" y="T9"/>
                      </a:cxn>
                    </a:cxnLst>
                    <a:rect l="T15" t="T16" r="T17" b="T18"/>
                    <a:pathLst>
                      <a:path w="196" h="36">
                        <a:moveTo>
                          <a:pt x="196" y="0"/>
                        </a:moveTo>
                        <a:lnTo>
                          <a:pt x="8" y="0"/>
                        </a:lnTo>
                        <a:lnTo>
                          <a:pt x="0" y="36"/>
                        </a:lnTo>
                        <a:lnTo>
                          <a:pt x="179" y="36"/>
                        </a:lnTo>
                        <a:lnTo>
                          <a:pt x="196"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33" name="Freeform 134"/>
                  <p:cNvSpPr>
                    <a:spLocks/>
                  </p:cNvSpPr>
                  <p:nvPr/>
                </p:nvSpPr>
                <p:spPr bwMode="auto">
                  <a:xfrm>
                    <a:off x="3508" y="1700"/>
                    <a:ext cx="2" cy="13"/>
                  </a:xfrm>
                  <a:custGeom>
                    <a:avLst/>
                    <a:gdLst>
                      <a:gd name="T0" fmla="*/ 0 w 20"/>
                      <a:gd name="T1" fmla="*/ 0 h 123"/>
                      <a:gd name="T2" fmla="*/ 0 w 20"/>
                      <a:gd name="T3" fmla="*/ 0 h 123"/>
                      <a:gd name="T4" fmla="*/ 0 w 20"/>
                      <a:gd name="T5" fmla="*/ 0 h 123"/>
                      <a:gd name="T6" fmla="*/ 0 w 20"/>
                      <a:gd name="T7" fmla="*/ 0 h 123"/>
                      <a:gd name="T8" fmla="*/ 0 60000 65536"/>
                      <a:gd name="T9" fmla="*/ 0 60000 65536"/>
                      <a:gd name="T10" fmla="*/ 0 60000 65536"/>
                      <a:gd name="T11" fmla="*/ 0 60000 65536"/>
                      <a:gd name="T12" fmla="*/ 0 w 20"/>
                      <a:gd name="T13" fmla="*/ 0 h 123"/>
                      <a:gd name="T14" fmla="*/ 20 w 20"/>
                      <a:gd name="T15" fmla="*/ 123 h 123"/>
                    </a:gdLst>
                    <a:ahLst/>
                    <a:cxnLst>
                      <a:cxn ang="T8">
                        <a:pos x="T0" y="T1"/>
                      </a:cxn>
                      <a:cxn ang="T9">
                        <a:pos x="T2" y="T3"/>
                      </a:cxn>
                      <a:cxn ang="T10">
                        <a:pos x="T4" y="T5"/>
                      </a:cxn>
                      <a:cxn ang="T11">
                        <a:pos x="T6" y="T7"/>
                      </a:cxn>
                    </a:cxnLst>
                    <a:rect l="T12" t="T13" r="T14" b="T15"/>
                    <a:pathLst>
                      <a:path w="20" h="123">
                        <a:moveTo>
                          <a:pt x="20" y="0"/>
                        </a:moveTo>
                        <a:lnTo>
                          <a:pt x="20" y="123"/>
                        </a:lnTo>
                        <a:lnTo>
                          <a:pt x="0" y="41"/>
                        </a:lnTo>
                        <a:lnTo>
                          <a:pt x="2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34" name="Oval 135"/>
                  <p:cNvSpPr>
                    <a:spLocks noChangeArrowheads="1"/>
                  </p:cNvSpPr>
                  <p:nvPr/>
                </p:nvSpPr>
                <p:spPr bwMode="auto">
                  <a:xfrm>
                    <a:off x="3487" y="1709"/>
                    <a:ext cx="6" cy="1"/>
                  </a:xfrm>
                  <a:prstGeom prst="ellipse">
                    <a:avLst/>
                  </a:prstGeom>
                  <a:solidFill>
                    <a:srgbClr val="C0C0C0"/>
                  </a:solidFill>
                  <a:ln w="1588">
                    <a:solidFill>
                      <a:srgbClr val="808080"/>
                    </a:solidFill>
                    <a:round/>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35" name="Freeform 136"/>
                  <p:cNvSpPr>
                    <a:spLocks/>
                  </p:cNvSpPr>
                  <p:nvPr/>
                </p:nvSpPr>
                <p:spPr bwMode="auto">
                  <a:xfrm>
                    <a:off x="3488" y="1696"/>
                    <a:ext cx="7" cy="20"/>
                  </a:xfrm>
                  <a:custGeom>
                    <a:avLst/>
                    <a:gdLst>
                      <a:gd name="T0" fmla="*/ 0 w 65"/>
                      <a:gd name="T1" fmla="*/ 0 h 183"/>
                      <a:gd name="T2" fmla="*/ 0 w 65"/>
                      <a:gd name="T3" fmla="*/ 0 h 183"/>
                      <a:gd name="T4" fmla="*/ 0 w 65"/>
                      <a:gd name="T5" fmla="*/ 0 h 183"/>
                      <a:gd name="T6" fmla="*/ 0 w 65"/>
                      <a:gd name="T7" fmla="*/ 0 h 183"/>
                      <a:gd name="T8" fmla="*/ 0 w 65"/>
                      <a:gd name="T9" fmla="*/ 0 h 183"/>
                      <a:gd name="T10" fmla="*/ 0 w 65"/>
                      <a:gd name="T11" fmla="*/ 0 h 183"/>
                      <a:gd name="T12" fmla="*/ 0 w 65"/>
                      <a:gd name="T13" fmla="*/ 0 h 183"/>
                      <a:gd name="T14" fmla="*/ 0 w 65"/>
                      <a:gd name="T15" fmla="*/ 0 h 183"/>
                      <a:gd name="T16" fmla="*/ 0 w 65"/>
                      <a:gd name="T17" fmla="*/ 0 h 183"/>
                      <a:gd name="T18" fmla="*/ 0 w 65"/>
                      <a:gd name="T19" fmla="*/ 0 h 183"/>
                      <a:gd name="T20" fmla="*/ 0 w 65"/>
                      <a:gd name="T21" fmla="*/ 0 h 183"/>
                      <a:gd name="T22" fmla="*/ 0 w 65"/>
                      <a:gd name="T23" fmla="*/ 0 h 1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5"/>
                      <a:gd name="T37" fmla="*/ 0 h 183"/>
                      <a:gd name="T38" fmla="*/ 65 w 65"/>
                      <a:gd name="T39" fmla="*/ 183 h 1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5" h="183">
                        <a:moveTo>
                          <a:pt x="52" y="2"/>
                        </a:moveTo>
                        <a:lnTo>
                          <a:pt x="29" y="0"/>
                        </a:lnTo>
                        <a:lnTo>
                          <a:pt x="13" y="10"/>
                        </a:lnTo>
                        <a:lnTo>
                          <a:pt x="7" y="32"/>
                        </a:lnTo>
                        <a:lnTo>
                          <a:pt x="0" y="73"/>
                        </a:lnTo>
                        <a:lnTo>
                          <a:pt x="16" y="180"/>
                        </a:lnTo>
                        <a:lnTo>
                          <a:pt x="29" y="183"/>
                        </a:lnTo>
                        <a:lnTo>
                          <a:pt x="29" y="88"/>
                        </a:lnTo>
                        <a:lnTo>
                          <a:pt x="58" y="48"/>
                        </a:lnTo>
                        <a:lnTo>
                          <a:pt x="65" y="29"/>
                        </a:lnTo>
                        <a:lnTo>
                          <a:pt x="64" y="12"/>
                        </a:lnTo>
                        <a:lnTo>
                          <a:pt x="52" y="2"/>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36" name="Freeform 137"/>
                  <p:cNvSpPr>
                    <a:spLocks/>
                  </p:cNvSpPr>
                  <p:nvPr/>
                </p:nvSpPr>
                <p:spPr bwMode="auto">
                  <a:xfrm>
                    <a:off x="3489" y="1695"/>
                    <a:ext cx="7" cy="21"/>
                  </a:xfrm>
                  <a:custGeom>
                    <a:avLst/>
                    <a:gdLst>
                      <a:gd name="T0" fmla="*/ 0 w 66"/>
                      <a:gd name="T1" fmla="*/ 0 h 182"/>
                      <a:gd name="T2" fmla="*/ 0 w 66"/>
                      <a:gd name="T3" fmla="*/ 0 h 182"/>
                      <a:gd name="T4" fmla="*/ 0 w 66"/>
                      <a:gd name="T5" fmla="*/ 0 h 182"/>
                      <a:gd name="T6" fmla="*/ 0 w 66"/>
                      <a:gd name="T7" fmla="*/ 0 h 182"/>
                      <a:gd name="T8" fmla="*/ 0 w 66"/>
                      <a:gd name="T9" fmla="*/ 0 h 182"/>
                      <a:gd name="T10" fmla="*/ 0 w 66"/>
                      <a:gd name="T11" fmla="*/ 0 h 182"/>
                      <a:gd name="T12" fmla="*/ 0 w 66"/>
                      <a:gd name="T13" fmla="*/ 0 h 182"/>
                      <a:gd name="T14" fmla="*/ 0 w 66"/>
                      <a:gd name="T15" fmla="*/ 0 h 182"/>
                      <a:gd name="T16" fmla="*/ 0 w 66"/>
                      <a:gd name="T17" fmla="*/ 0 h 182"/>
                      <a:gd name="T18" fmla="*/ 0 w 66"/>
                      <a:gd name="T19" fmla="*/ 0 h 182"/>
                      <a:gd name="T20" fmla="*/ 0 w 66"/>
                      <a:gd name="T21" fmla="*/ 0 h 182"/>
                      <a:gd name="T22" fmla="*/ 0 w 66"/>
                      <a:gd name="T23" fmla="*/ 0 h 1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
                      <a:gd name="T37" fmla="*/ 0 h 182"/>
                      <a:gd name="T38" fmla="*/ 66 w 66"/>
                      <a:gd name="T39" fmla="*/ 182 h 18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 h="182">
                        <a:moveTo>
                          <a:pt x="53" y="2"/>
                        </a:moveTo>
                        <a:lnTo>
                          <a:pt x="29" y="0"/>
                        </a:lnTo>
                        <a:lnTo>
                          <a:pt x="14" y="10"/>
                        </a:lnTo>
                        <a:lnTo>
                          <a:pt x="8" y="31"/>
                        </a:lnTo>
                        <a:lnTo>
                          <a:pt x="0" y="72"/>
                        </a:lnTo>
                        <a:lnTo>
                          <a:pt x="17" y="180"/>
                        </a:lnTo>
                        <a:lnTo>
                          <a:pt x="29" y="182"/>
                        </a:lnTo>
                        <a:lnTo>
                          <a:pt x="29" y="87"/>
                        </a:lnTo>
                        <a:lnTo>
                          <a:pt x="59" y="48"/>
                        </a:lnTo>
                        <a:lnTo>
                          <a:pt x="66" y="29"/>
                        </a:lnTo>
                        <a:lnTo>
                          <a:pt x="64" y="12"/>
                        </a:lnTo>
                        <a:lnTo>
                          <a:pt x="53" y="2"/>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137" name="Rectangle 138"/>
                  <p:cNvSpPr>
                    <a:spLocks noChangeArrowheads="1"/>
                  </p:cNvSpPr>
                  <p:nvPr/>
                </p:nvSpPr>
                <p:spPr bwMode="auto">
                  <a:xfrm>
                    <a:off x="3451" y="1728"/>
                    <a:ext cx="42" cy="1"/>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38" name="Freeform 139"/>
                  <p:cNvSpPr>
                    <a:spLocks/>
                  </p:cNvSpPr>
                  <p:nvPr/>
                </p:nvSpPr>
                <p:spPr bwMode="auto">
                  <a:xfrm>
                    <a:off x="3467" y="1734"/>
                    <a:ext cx="21" cy="4"/>
                  </a:xfrm>
                  <a:custGeom>
                    <a:avLst/>
                    <a:gdLst>
                      <a:gd name="T0" fmla="*/ 0 w 187"/>
                      <a:gd name="T1" fmla="*/ 0 h 35"/>
                      <a:gd name="T2" fmla="*/ 0 w 187"/>
                      <a:gd name="T3" fmla="*/ 0 h 35"/>
                      <a:gd name="T4" fmla="*/ 0 w 187"/>
                      <a:gd name="T5" fmla="*/ 0 h 35"/>
                      <a:gd name="T6" fmla="*/ 0 w 187"/>
                      <a:gd name="T7" fmla="*/ 0 h 35"/>
                      <a:gd name="T8" fmla="*/ 0 60000 65536"/>
                      <a:gd name="T9" fmla="*/ 0 60000 65536"/>
                      <a:gd name="T10" fmla="*/ 0 60000 65536"/>
                      <a:gd name="T11" fmla="*/ 0 60000 65536"/>
                      <a:gd name="T12" fmla="*/ 0 w 187"/>
                      <a:gd name="T13" fmla="*/ 0 h 35"/>
                      <a:gd name="T14" fmla="*/ 187 w 187"/>
                      <a:gd name="T15" fmla="*/ 35 h 35"/>
                    </a:gdLst>
                    <a:ahLst/>
                    <a:cxnLst>
                      <a:cxn ang="T8">
                        <a:pos x="T0" y="T1"/>
                      </a:cxn>
                      <a:cxn ang="T9">
                        <a:pos x="T2" y="T3"/>
                      </a:cxn>
                      <a:cxn ang="T10">
                        <a:pos x="T4" y="T5"/>
                      </a:cxn>
                      <a:cxn ang="T11">
                        <a:pos x="T6" y="T7"/>
                      </a:cxn>
                    </a:cxnLst>
                    <a:rect l="T12" t="T13" r="T14" b="T15"/>
                    <a:pathLst>
                      <a:path w="187" h="35">
                        <a:moveTo>
                          <a:pt x="5" y="35"/>
                        </a:moveTo>
                        <a:lnTo>
                          <a:pt x="0" y="0"/>
                        </a:lnTo>
                        <a:lnTo>
                          <a:pt x="182" y="0"/>
                        </a:lnTo>
                        <a:lnTo>
                          <a:pt x="187" y="34"/>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39" name="Freeform 140"/>
                  <p:cNvSpPr>
                    <a:spLocks/>
                  </p:cNvSpPr>
                  <p:nvPr/>
                </p:nvSpPr>
                <p:spPr bwMode="auto">
                  <a:xfrm>
                    <a:off x="3411" y="1591"/>
                    <a:ext cx="18" cy="20"/>
                  </a:xfrm>
                  <a:custGeom>
                    <a:avLst/>
                    <a:gdLst>
                      <a:gd name="T0" fmla="*/ 0 w 165"/>
                      <a:gd name="T1" fmla="*/ 0 h 181"/>
                      <a:gd name="T2" fmla="*/ 0 w 165"/>
                      <a:gd name="T3" fmla="*/ 0 h 181"/>
                      <a:gd name="T4" fmla="*/ 0 w 165"/>
                      <a:gd name="T5" fmla="*/ 0 h 181"/>
                      <a:gd name="T6" fmla="*/ 0 w 165"/>
                      <a:gd name="T7" fmla="*/ 0 h 181"/>
                      <a:gd name="T8" fmla="*/ 0 w 165"/>
                      <a:gd name="T9" fmla="*/ 0 h 181"/>
                      <a:gd name="T10" fmla="*/ 0 60000 65536"/>
                      <a:gd name="T11" fmla="*/ 0 60000 65536"/>
                      <a:gd name="T12" fmla="*/ 0 60000 65536"/>
                      <a:gd name="T13" fmla="*/ 0 60000 65536"/>
                      <a:gd name="T14" fmla="*/ 0 60000 65536"/>
                      <a:gd name="T15" fmla="*/ 0 w 165"/>
                      <a:gd name="T16" fmla="*/ 0 h 181"/>
                      <a:gd name="T17" fmla="*/ 165 w 165"/>
                      <a:gd name="T18" fmla="*/ 181 h 181"/>
                    </a:gdLst>
                    <a:ahLst/>
                    <a:cxnLst>
                      <a:cxn ang="T10">
                        <a:pos x="T0" y="T1"/>
                      </a:cxn>
                      <a:cxn ang="T11">
                        <a:pos x="T2" y="T3"/>
                      </a:cxn>
                      <a:cxn ang="T12">
                        <a:pos x="T4" y="T5"/>
                      </a:cxn>
                      <a:cxn ang="T13">
                        <a:pos x="T6" y="T7"/>
                      </a:cxn>
                      <a:cxn ang="T14">
                        <a:pos x="T8" y="T9"/>
                      </a:cxn>
                    </a:cxnLst>
                    <a:rect l="T15" t="T16" r="T17" b="T18"/>
                    <a:pathLst>
                      <a:path w="165" h="181">
                        <a:moveTo>
                          <a:pt x="153" y="0"/>
                        </a:moveTo>
                        <a:lnTo>
                          <a:pt x="0" y="0"/>
                        </a:lnTo>
                        <a:lnTo>
                          <a:pt x="11" y="181"/>
                        </a:lnTo>
                        <a:lnTo>
                          <a:pt x="165" y="181"/>
                        </a:lnTo>
                        <a:lnTo>
                          <a:pt x="153" y="0"/>
                        </a:lnTo>
                        <a:close/>
                      </a:path>
                    </a:pathLst>
                  </a:custGeom>
                  <a:solidFill>
                    <a:srgbClr val="C0C0C0"/>
                  </a:solidFill>
                  <a:ln w="3175">
                    <a:solidFill>
                      <a:srgbClr val="808080"/>
                    </a:solidFill>
                    <a:prstDash val="solid"/>
                    <a:round/>
                    <a:headEnd/>
                    <a:tailEnd/>
                  </a:ln>
                </p:spPr>
                <p:txBody>
                  <a:bodyPr/>
                  <a:lstStyle/>
                  <a:p>
                    <a:endParaRPr lang="en-US" sz="1350"/>
                  </a:p>
                </p:txBody>
              </p:sp>
              <p:sp>
                <p:nvSpPr>
                  <p:cNvPr id="140" name="Freeform 141"/>
                  <p:cNvSpPr>
                    <a:spLocks/>
                  </p:cNvSpPr>
                  <p:nvPr/>
                </p:nvSpPr>
                <p:spPr bwMode="auto">
                  <a:xfrm>
                    <a:off x="3413" y="1625"/>
                    <a:ext cx="19" cy="21"/>
                  </a:xfrm>
                  <a:custGeom>
                    <a:avLst/>
                    <a:gdLst>
                      <a:gd name="T0" fmla="*/ 0 w 172"/>
                      <a:gd name="T1" fmla="*/ 0 h 182"/>
                      <a:gd name="T2" fmla="*/ 0 w 172"/>
                      <a:gd name="T3" fmla="*/ 0 h 182"/>
                      <a:gd name="T4" fmla="*/ 0 w 172"/>
                      <a:gd name="T5" fmla="*/ 0 h 182"/>
                      <a:gd name="T6" fmla="*/ 0 w 172"/>
                      <a:gd name="T7" fmla="*/ 0 h 182"/>
                      <a:gd name="T8" fmla="*/ 0 w 172"/>
                      <a:gd name="T9" fmla="*/ 0 h 182"/>
                      <a:gd name="T10" fmla="*/ 0 60000 65536"/>
                      <a:gd name="T11" fmla="*/ 0 60000 65536"/>
                      <a:gd name="T12" fmla="*/ 0 60000 65536"/>
                      <a:gd name="T13" fmla="*/ 0 60000 65536"/>
                      <a:gd name="T14" fmla="*/ 0 60000 65536"/>
                      <a:gd name="T15" fmla="*/ 0 w 172"/>
                      <a:gd name="T16" fmla="*/ 0 h 182"/>
                      <a:gd name="T17" fmla="*/ 172 w 172"/>
                      <a:gd name="T18" fmla="*/ 182 h 182"/>
                    </a:gdLst>
                    <a:ahLst/>
                    <a:cxnLst>
                      <a:cxn ang="T10">
                        <a:pos x="T0" y="T1"/>
                      </a:cxn>
                      <a:cxn ang="T11">
                        <a:pos x="T2" y="T3"/>
                      </a:cxn>
                      <a:cxn ang="T12">
                        <a:pos x="T4" y="T5"/>
                      </a:cxn>
                      <a:cxn ang="T13">
                        <a:pos x="T6" y="T7"/>
                      </a:cxn>
                      <a:cxn ang="T14">
                        <a:pos x="T8" y="T9"/>
                      </a:cxn>
                    </a:cxnLst>
                    <a:rect l="T15" t="T16" r="T17" b="T18"/>
                    <a:pathLst>
                      <a:path w="172" h="182">
                        <a:moveTo>
                          <a:pt x="159" y="0"/>
                        </a:moveTo>
                        <a:lnTo>
                          <a:pt x="0" y="0"/>
                        </a:lnTo>
                        <a:lnTo>
                          <a:pt x="12" y="182"/>
                        </a:lnTo>
                        <a:lnTo>
                          <a:pt x="172" y="181"/>
                        </a:lnTo>
                        <a:lnTo>
                          <a:pt x="159" y="0"/>
                        </a:lnTo>
                        <a:close/>
                      </a:path>
                    </a:pathLst>
                  </a:custGeom>
                  <a:solidFill>
                    <a:srgbClr val="C0C0C0"/>
                  </a:solidFill>
                  <a:ln w="3175">
                    <a:solidFill>
                      <a:srgbClr val="808080"/>
                    </a:solidFill>
                    <a:prstDash val="solid"/>
                    <a:round/>
                    <a:headEnd/>
                    <a:tailEnd/>
                  </a:ln>
                </p:spPr>
                <p:txBody>
                  <a:bodyPr/>
                  <a:lstStyle/>
                  <a:p>
                    <a:endParaRPr lang="en-US" sz="1350"/>
                  </a:p>
                </p:txBody>
              </p:sp>
              <p:sp>
                <p:nvSpPr>
                  <p:cNvPr id="141" name="Rectangle 142"/>
                  <p:cNvSpPr>
                    <a:spLocks noChangeArrowheads="1"/>
                  </p:cNvSpPr>
                  <p:nvPr/>
                </p:nvSpPr>
                <p:spPr bwMode="auto">
                  <a:xfrm>
                    <a:off x="3440" y="1626"/>
                    <a:ext cx="76" cy="10"/>
                  </a:xfrm>
                  <a:prstGeom prst="rect">
                    <a:avLst/>
                  </a:prstGeom>
                  <a:solidFill>
                    <a:srgbClr val="60606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42" name="Rectangle 143"/>
                  <p:cNvSpPr>
                    <a:spLocks noChangeArrowheads="1"/>
                  </p:cNvSpPr>
                  <p:nvPr/>
                </p:nvSpPr>
                <p:spPr bwMode="auto">
                  <a:xfrm>
                    <a:off x="3457" y="1625"/>
                    <a:ext cx="1" cy="1"/>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43" name="Rectangle 144"/>
                  <p:cNvSpPr>
                    <a:spLocks noChangeArrowheads="1"/>
                  </p:cNvSpPr>
                  <p:nvPr/>
                </p:nvSpPr>
                <p:spPr bwMode="auto">
                  <a:xfrm>
                    <a:off x="3457" y="1637"/>
                    <a:ext cx="1" cy="1"/>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44" name="Rectangle 145"/>
                  <p:cNvSpPr>
                    <a:spLocks noChangeArrowheads="1"/>
                  </p:cNvSpPr>
                  <p:nvPr/>
                </p:nvSpPr>
                <p:spPr bwMode="auto">
                  <a:xfrm>
                    <a:off x="3475" y="1631"/>
                    <a:ext cx="6" cy="1"/>
                  </a:xfrm>
                  <a:prstGeom prst="rect">
                    <a:avLst/>
                  </a:prstGeom>
                  <a:solidFill>
                    <a:srgbClr val="008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45" name="Oval 146"/>
                  <p:cNvSpPr>
                    <a:spLocks noChangeArrowheads="1"/>
                  </p:cNvSpPr>
                  <p:nvPr/>
                </p:nvSpPr>
                <p:spPr bwMode="auto">
                  <a:xfrm>
                    <a:off x="3445" y="1631"/>
                    <a:ext cx="1" cy="1"/>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grpSp>
            <p:grpSp>
              <p:nvGrpSpPr>
                <p:cNvPr id="37" name="Group 147"/>
                <p:cNvGrpSpPr>
                  <a:grpSpLocks/>
                </p:cNvGrpSpPr>
                <p:nvPr/>
              </p:nvGrpSpPr>
              <p:grpSpPr bwMode="auto">
                <a:xfrm>
                  <a:off x="3585" y="2106"/>
                  <a:ext cx="282" cy="457"/>
                  <a:chOff x="3333" y="2126"/>
                  <a:chExt cx="199" cy="278"/>
                </a:xfrm>
              </p:grpSpPr>
              <p:sp>
                <p:nvSpPr>
                  <p:cNvPr id="68" name="Freeform 148"/>
                  <p:cNvSpPr>
                    <a:spLocks/>
                  </p:cNvSpPr>
                  <p:nvPr/>
                </p:nvSpPr>
                <p:spPr bwMode="auto">
                  <a:xfrm>
                    <a:off x="3392" y="2144"/>
                    <a:ext cx="134" cy="5"/>
                  </a:xfrm>
                  <a:custGeom>
                    <a:avLst/>
                    <a:gdLst>
                      <a:gd name="T0" fmla="*/ 0 w 1209"/>
                      <a:gd name="T1" fmla="*/ 0 h 45"/>
                      <a:gd name="T2" fmla="*/ 0 w 1209"/>
                      <a:gd name="T3" fmla="*/ 0 h 45"/>
                      <a:gd name="T4" fmla="*/ 0 w 1209"/>
                      <a:gd name="T5" fmla="*/ 0 h 45"/>
                      <a:gd name="T6" fmla="*/ 0 w 1209"/>
                      <a:gd name="T7" fmla="*/ 0 h 45"/>
                      <a:gd name="T8" fmla="*/ 0 w 1209"/>
                      <a:gd name="T9" fmla="*/ 0 h 45"/>
                      <a:gd name="T10" fmla="*/ 0 60000 65536"/>
                      <a:gd name="T11" fmla="*/ 0 60000 65536"/>
                      <a:gd name="T12" fmla="*/ 0 60000 65536"/>
                      <a:gd name="T13" fmla="*/ 0 60000 65536"/>
                      <a:gd name="T14" fmla="*/ 0 60000 65536"/>
                      <a:gd name="T15" fmla="*/ 0 w 1209"/>
                      <a:gd name="T16" fmla="*/ 0 h 45"/>
                      <a:gd name="T17" fmla="*/ 1209 w 1209"/>
                      <a:gd name="T18" fmla="*/ 45 h 45"/>
                    </a:gdLst>
                    <a:ahLst/>
                    <a:cxnLst>
                      <a:cxn ang="T10">
                        <a:pos x="T0" y="T1"/>
                      </a:cxn>
                      <a:cxn ang="T11">
                        <a:pos x="T2" y="T3"/>
                      </a:cxn>
                      <a:cxn ang="T12">
                        <a:pos x="T4" y="T5"/>
                      </a:cxn>
                      <a:cxn ang="T13">
                        <a:pos x="T6" y="T7"/>
                      </a:cxn>
                      <a:cxn ang="T14">
                        <a:pos x="T8" y="T9"/>
                      </a:cxn>
                    </a:cxnLst>
                    <a:rect l="T15" t="T16" r="T17" b="T18"/>
                    <a:pathLst>
                      <a:path w="1209" h="45">
                        <a:moveTo>
                          <a:pt x="0" y="0"/>
                        </a:moveTo>
                        <a:lnTo>
                          <a:pt x="71" y="45"/>
                        </a:lnTo>
                        <a:lnTo>
                          <a:pt x="1209" y="45"/>
                        </a:lnTo>
                        <a:lnTo>
                          <a:pt x="1173" y="0"/>
                        </a:lnTo>
                        <a:lnTo>
                          <a:pt x="0" y="0"/>
                        </a:lnTo>
                        <a:close/>
                      </a:path>
                    </a:pathLst>
                  </a:custGeom>
                  <a:solidFill>
                    <a:srgbClr val="E0E0E0"/>
                  </a:solidFill>
                  <a:ln w="3175">
                    <a:solidFill>
                      <a:srgbClr val="808080"/>
                    </a:solidFill>
                    <a:prstDash val="solid"/>
                    <a:round/>
                    <a:headEnd/>
                    <a:tailEnd/>
                  </a:ln>
                </p:spPr>
                <p:txBody>
                  <a:bodyPr/>
                  <a:lstStyle/>
                  <a:p>
                    <a:endParaRPr lang="en-US" sz="1350"/>
                  </a:p>
                </p:txBody>
              </p:sp>
              <p:sp>
                <p:nvSpPr>
                  <p:cNvPr id="69" name="Freeform 149"/>
                  <p:cNvSpPr>
                    <a:spLocks/>
                  </p:cNvSpPr>
                  <p:nvPr/>
                </p:nvSpPr>
                <p:spPr bwMode="auto">
                  <a:xfrm>
                    <a:off x="3391" y="2144"/>
                    <a:ext cx="34" cy="260"/>
                  </a:xfrm>
                  <a:custGeom>
                    <a:avLst/>
                    <a:gdLst>
                      <a:gd name="T0" fmla="*/ 0 w 306"/>
                      <a:gd name="T1" fmla="*/ 0 h 2338"/>
                      <a:gd name="T2" fmla="*/ 0 w 306"/>
                      <a:gd name="T3" fmla="*/ 0 h 2338"/>
                      <a:gd name="T4" fmla="*/ 0 w 306"/>
                      <a:gd name="T5" fmla="*/ 0 h 2338"/>
                      <a:gd name="T6" fmla="*/ 0 w 306"/>
                      <a:gd name="T7" fmla="*/ 0 h 2338"/>
                      <a:gd name="T8" fmla="*/ 0 w 306"/>
                      <a:gd name="T9" fmla="*/ 0 h 2338"/>
                      <a:gd name="T10" fmla="*/ 0 w 306"/>
                      <a:gd name="T11" fmla="*/ 0 h 2338"/>
                      <a:gd name="T12" fmla="*/ 0 w 306"/>
                      <a:gd name="T13" fmla="*/ 0 h 2338"/>
                      <a:gd name="T14" fmla="*/ 0 60000 65536"/>
                      <a:gd name="T15" fmla="*/ 0 60000 65536"/>
                      <a:gd name="T16" fmla="*/ 0 60000 65536"/>
                      <a:gd name="T17" fmla="*/ 0 60000 65536"/>
                      <a:gd name="T18" fmla="*/ 0 60000 65536"/>
                      <a:gd name="T19" fmla="*/ 0 60000 65536"/>
                      <a:gd name="T20" fmla="*/ 0 60000 65536"/>
                      <a:gd name="T21" fmla="*/ 0 w 306"/>
                      <a:gd name="T22" fmla="*/ 0 h 2338"/>
                      <a:gd name="T23" fmla="*/ 306 w 306"/>
                      <a:gd name="T24" fmla="*/ 2338 h 23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6" h="2338">
                        <a:moveTo>
                          <a:pt x="0" y="2259"/>
                        </a:moveTo>
                        <a:lnTo>
                          <a:pt x="63" y="2338"/>
                        </a:lnTo>
                        <a:lnTo>
                          <a:pt x="306" y="776"/>
                        </a:lnTo>
                        <a:lnTo>
                          <a:pt x="78" y="46"/>
                        </a:lnTo>
                        <a:lnTo>
                          <a:pt x="2" y="0"/>
                        </a:lnTo>
                        <a:lnTo>
                          <a:pt x="0" y="854"/>
                        </a:lnTo>
                        <a:lnTo>
                          <a:pt x="0" y="2259"/>
                        </a:lnTo>
                        <a:close/>
                      </a:path>
                    </a:pathLst>
                  </a:custGeom>
                  <a:solidFill>
                    <a:srgbClr val="A0A0A0"/>
                  </a:solidFill>
                  <a:ln w="3175">
                    <a:solidFill>
                      <a:srgbClr val="808080"/>
                    </a:solidFill>
                    <a:prstDash val="solid"/>
                    <a:round/>
                    <a:headEnd/>
                    <a:tailEnd/>
                  </a:ln>
                </p:spPr>
                <p:txBody>
                  <a:bodyPr/>
                  <a:lstStyle/>
                  <a:p>
                    <a:endParaRPr lang="en-US" sz="1350"/>
                  </a:p>
                </p:txBody>
              </p:sp>
              <p:sp>
                <p:nvSpPr>
                  <p:cNvPr id="70" name="Freeform 150"/>
                  <p:cNvSpPr>
                    <a:spLocks/>
                  </p:cNvSpPr>
                  <p:nvPr/>
                </p:nvSpPr>
                <p:spPr bwMode="auto">
                  <a:xfrm>
                    <a:off x="3333" y="2126"/>
                    <a:ext cx="59" cy="269"/>
                  </a:xfrm>
                  <a:custGeom>
                    <a:avLst/>
                    <a:gdLst>
                      <a:gd name="T0" fmla="*/ 0 w 532"/>
                      <a:gd name="T1" fmla="*/ 0 h 2417"/>
                      <a:gd name="T2" fmla="*/ 0 w 532"/>
                      <a:gd name="T3" fmla="*/ 0 h 2417"/>
                      <a:gd name="T4" fmla="*/ 0 w 532"/>
                      <a:gd name="T5" fmla="*/ 0 h 2417"/>
                      <a:gd name="T6" fmla="*/ 0 w 532"/>
                      <a:gd name="T7" fmla="*/ 0 h 2417"/>
                      <a:gd name="T8" fmla="*/ 0 w 532"/>
                      <a:gd name="T9" fmla="*/ 0 h 2417"/>
                      <a:gd name="T10" fmla="*/ 0 60000 65536"/>
                      <a:gd name="T11" fmla="*/ 0 60000 65536"/>
                      <a:gd name="T12" fmla="*/ 0 60000 65536"/>
                      <a:gd name="T13" fmla="*/ 0 60000 65536"/>
                      <a:gd name="T14" fmla="*/ 0 60000 65536"/>
                      <a:gd name="T15" fmla="*/ 0 w 532"/>
                      <a:gd name="T16" fmla="*/ 0 h 2417"/>
                      <a:gd name="T17" fmla="*/ 532 w 532"/>
                      <a:gd name="T18" fmla="*/ 2417 h 2417"/>
                    </a:gdLst>
                    <a:ahLst/>
                    <a:cxnLst>
                      <a:cxn ang="T10">
                        <a:pos x="T0" y="T1"/>
                      </a:cxn>
                      <a:cxn ang="T11">
                        <a:pos x="T2" y="T3"/>
                      </a:cxn>
                      <a:cxn ang="T12">
                        <a:pos x="T4" y="T5"/>
                      </a:cxn>
                      <a:cxn ang="T13">
                        <a:pos x="T6" y="T7"/>
                      </a:cxn>
                      <a:cxn ang="T14">
                        <a:pos x="T8" y="T9"/>
                      </a:cxn>
                    </a:cxnLst>
                    <a:rect l="T15" t="T16" r="T17" b="T18"/>
                    <a:pathLst>
                      <a:path w="532" h="2417">
                        <a:moveTo>
                          <a:pt x="0" y="0"/>
                        </a:moveTo>
                        <a:lnTo>
                          <a:pt x="532" y="159"/>
                        </a:lnTo>
                        <a:lnTo>
                          <a:pt x="532" y="2417"/>
                        </a:lnTo>
                        <a:lnTo>
                          <a:pt x="0" y="1841"/>
                        </a:lnTo>
                        <a:lnTo>
                          <a:pt x="0" y="0"/>
                        </a:lnTo>
                        <a:close/>
                      </a:path>
                    </a:pathLst>
                  </a:custGeom>
                  <a:solidFill>
                    <a:srgbClr val="A0A0A0"/>
                  </a:solidFill>
                  <a:ln w="3175">
                    <a:solidFill>
                      <a:srgbClr val="808080"/>
                    </a:solidFill>
                    <a:prstDash val="solid"/>
                    <a:round/>
                    <a:headEnd/>
                    <a:tailEnd/>
                  </a:ln>
                </p:spPr>
                <p:txBody>
                  <a:bodyPr/>
                  <a:lstStyle/>
                  <a:p>
                    <a:endParaRPr lang="en-US" sz="1350"/>
                  </a:p>
                </p:txBody>
              </p:sp>
              <p:sp>
                <p:nvSpPr>
                  <p:cNvPr id="71" name="Freeform 151"/>
                  <p:cNvSpPr>
                    <a:spLocks/>
                  </p:cNvSpPr>
                  <p:nvPr/>
                </p:nvSpPr>
                <p:spPr bwMode="auto">
                  <a:xfrm>
                    <a:off x="3333" y="2126"/>
                    <a:ext cx="189" cy="18"/>
                  </a:xfrm>
                  <a:custGeom>
                    <a:avLst/>
                    <a:gdLst>
                      <a:gd name="T0" fmla="*/ 0 w 1705"/>
                      <a:gd name="T1" fmla="*/ 0 h 166"/>
                      <a:gd name="T2" fmla="*/ 0 w 1705"/>
                      <a:gd name="T3" fmla="*/ 0 h 166"/>
                      <a:gd name="T4" fmla="*/ 0 w 1705"/>
                      <a:gd name="T5" fmla="*/ 0 h 166"/>
                      <a:gd name="T6" fmla="*/ 0 w 1705"/>
                      <a:gd name="T7" fmla="*/ 0 h 166"/>
                      <a:gd name="T8" fmla="*/ 0 w 1705"/>
                      <a:gd name="T9" fmla="*/ 0 h 166"/>
                      <a:gd name="T10" fmla="*/ 0 60000 65536"/>
                      <a:gd name="T11" fmla="*/ 0 60000 65536"/>
                      <a:gd name="T12" fmla="*/ 0 60000 65536"/>
                      <a:gd name="T13" fmla="*/ 0 60000 65536"/>
                      <a:gd name="T14" fmla="*/ 0 60000 65536"/>
                      <a:gd name="T15" fmla="*/ 0 w 1705"/>
                      <a:gd name="T16" fmla="*/ 0 h 166"/>
                      <a:gd name="T17" fmla="*/ 1705 w 1705"/>
                      <a:gd name="T18" fmla="*/ 166 h 166"/>
                    </a:gdLst>
                    <a:ahLst/>
                    <a:cxnLst>
                      <a:cxn ang="T10">
                        <a:pos x="T0" y="T1"/>
                      </a:cxn>
                      <a:cxn ang="T11">
                        <a:pos x="T2" y="T3"/>
                      </a:cxn>
                      <a:cxn ang="T12">
                        <a:pos x="T4" y="T5"/>
                      </a:cxn>
                      <a:cxn ang="T13">
                        <a:pos x="T6" y="T7"/>
                      </a:cxn>
                      <a:cxn ang="T14">
                        <a:pos x="T8" y="T9"/>
                      </a:cxn>
                    </a:cxnLst>
                    <a:rect l="T15" t="T16" r="T17" b="T18"/>
                    <a:pathLst>
                      <a:path w="1705" h="166">
                        <a:moveTo>
                          <a:pt x="533" y="166"/>
                        </a:moveTo>
                        <a:lnTo>
                          <a:pt x="1705" y="166"/>
                        </a:lnTo>
                        <a:lnTo>
                          <a:pt x="883" y="0"/>
                        </a:lnTo>
                        <a:lnTo>
                          <a:pt x="0" y="0"/>
                        </a:lnTo>
                        <a:lnTo>
                          <a:pt x="533" y="166"/>
                        </a:lnTo>
                        <a:close/>
                      </a:path>
                    </a:pathLst>
                  </a:custGeom>
                  <a:solidFill>
                    <a:srgbClr val="E0E0E0"/>
                  </a:solidFill>
                  <a:ln w="3175">
                    <a:solidFill>
                      <a:srgbClr val="808080"/>
                    </a:solidFill>
                    <a:prstDash val="solid"/>
                    <a:round/>
                    <a:headEnd/>
                    <a:tailEnd/>
                  </a:ln>
                </p:spPr>
                <p:txBody>
                  <a:bodyPr/>
                  <a:lstStyle/>
                  <a:p>
                    <a:endParaRPr lang="en-US" sz="1350"/>
                  </a:p>
                </p:txBody>
              </p:sp>
              <p:sp>
                <p:nvSpPr>
                  <p:cNvPr id="72" name="Rectangle 152"/>
                  <p:cNvSpPr>
                    <a:spLocks noChangeArrowheads="1"/>
                  </p:cNvSpPr>
                  <p:nvPr/>
                </p:nvSpPr>
                <p:spPr bwMode="auto">
                  <a:xfrm>
                    <a:off x="3399" y="2241"/>
                    <a:ext cx="122" cy="162"/>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73" name="Freeform 153"/>
                  <p:cNvSpPr>
                    <a:spLocks/>
                  </p:cNvSpPr>
                  <p:nvPr/>
                </p:nvSpPr>
                <p:spPr bwMode="auto">
                  <a:xfrm>
                    <a:off x="3399" y="2149"/>
                    <a:ext cx="133" cy="82"/>
                  </a:xfrm>
                  <a:custGeom>
                    <a:avLst/>
                    <a:gdLst>
                      <a:gd name="T0" fmla="*/ 0 w 1190"/>
                      <a:gd name="T1" fmla="*/ 0 h 736"/>
                      <a:gd name="T2" fmla="*/ 0 w 1190"/>
                      <a:gd name="T3" fmla="*/ 0 h 736"/>
                      <a:gd name="T4" fmla="*/ 0 w 1190"/>
                      <a:gd name="T5" fmla="*/ 0 h 736"/>
                      <a:gd name="T6" fmla="*/ 0 w 1190"/>
                      <a:gd name="T7" fmla="*/ 0 h 736"/>
                      <a:gd name="T8" fmla="*/ 0 w 1190"/>
                      <a:gd name="T9" fmla="*/ 0 h 736"/>
                      <a:gd name="T10" fmla="*/ 0 60000 65536"/>
                      <a:gd name="T11" fmla="*/ 0 60000 65536"/>
                      <a:gd name="T12" fmla="*/ 0 60000 65536"/>
                      <a:gd name="T13" fmla="*/ 0 60000 65536"/>
                      <a:gd name="T14" fmla="*/ 0 60000 65536"/>
                      <a:gd name="T15" fmla="*/ 0 w 1190"/>
                      <a:gd name="T16" fmla="*/ 0 h 736"/>
                      <a:gd name="T17" fmla="*/ 1190 w 1190"/>
                      <a:gd name="T18" fmla="*/ 736 h 736"/>
                    </a:gdLst>
                    <a:ahLst/>
                    <a:cxnLst>
                      <a:cxn ang="T10">
                        <a:pos x="T0" y="T1"/>
                      </a:cxn>
                      <a:cxn ang="T11">
                        <a:pos x="T2" y="T3"/>
                      </a:cxn>
                      <a:cxn ang="T12">
                        <a:pos x="T4" y="T5"/>
                      </a:cxn>
                      <a:cxn ang="T13">
                        <a:pos x="T6" y="T7"/>
                      </a:cxn>
                      <a:cxn ang="T14">
                        <a:pos x="T8" y="T9"/>
                      </a:cxn>
                    </a:cxnLst>
                    <a:rect l="T15" t="T16" r="T17" b="T18"/>
                    <a:pathLst>
                      <a:path w="1190" h="736">
                        <a:moveTo>
                          <a:pt x="0" y="0"/>
                        </a:moveTo>
                        <a:lnTo>
                          <a:pt x="1136" y="0"/>
                        </a:lnTo>
                        <a:lnTo>
                          <a:pt x="1190" y="736"/>
                        </a:lnTo>
                        <a:lnTo>
                          <a:pt x="49" y="736"/>
                        </a:lnTo>
                        <a:lnTo>
                          <a:pt x="0" y="0"/>
                        </a:lnTo>
                        <a:close/>
                      </a:path>
                    </a:pathLst>
                  </a:custGeom>
                  <a:solidFill>
                    <a:srgbClr val="C0C0C0"/>
                  </a:solidFill>
                  <a:ln w="3175">
                    <a:solidFill>
                      <a:srgbClr val="808080"/>
                    </a:solidFill>
                    <a:prstDash val="solid"/>
                    <a:round/>
                    <a:headEnd/>
                    <a:tailEnd/>
                  </a:ln>
                </p:spPr>
                <p:txBody>
                  <a:bodyPr/>
                  <a:lstStyle/>
                  <a:p>
                    <a:endParaRPr lang="en-US" sz="1350"/>
                  </a:p>
                </p:txBody>
              </p:sp>
              <p:sp>
                <p:nvSpPr>
                  <p:cNvPr id="74" name="Freeform 154"/>
                  <p:cNvSpPr>
                    <a:spLocks/>
                  </p:cNvSpPr>
                  <p:nvPr/>
                </p:nvSpPr>
                <p:spPr bwMode="auto">
                  <a:xfrm>
                    <a:off x="3398" y="2231"/>
                    <a:ext cx="134" cy="9"/>
                  </a:xfrm>
                  <a:custGeom>
                    <a:avLst/>
                    <a:gdLst>
                      <a:gd name="T0" fmla="*/ 0 w 1204"/>
                      <a:gd name="T1" fmla="*/ 0 h 87"/>
                      <a:gd name="T2" fmla="*/ 0 w 1204"/>
                      <a:gd name="T3" fmla="*/ 0 h 87"/>
                      <a:gd name="T4" fmla="*/ 0 w 1204"/>
                      <a:gd name="T5" fmla="*/ 0 h 87"/>
                      <a:gd name="T6" fmla="*/ 0 w 1204"/>
                      <a:gd name="T7" fmla="*/ 0 h 87"/>
                      <a:gd name="T8" fmla="*/ 0 w 1204"/>
                      <a:gd name="T9" fmla="*/ 0 h 87"/>
                      <a:gd name="T10" fmla="*/ 0 60000 65536"/>
                      <a:gd name="T11" fmla="*/ 0 60000 65536"/>
                      <a:gd name="T12" fmla="*/ 0 60000 65536"/>
                      <a:gd name="T13" fmla="*/ 0 60000 65536"/>
                      <a:gd name="T14" fmla="*/ 0 60000 65536"/>
                      <a:gd name="T15" fmla="*/ 0 w 1204"/>
                      <a:gd name="T16" fmla="*/ 0 h 87"/>
                      <a:gd name="T17" fmla="*/ 1204 w 1204"/>
                      <a:gd name="T18" fmla="*/ 87 h 87"/>
                    </a:gdLst>
                    <a:ahLst/>
                    <a:cxnLst>
                      <a:cxn ang="T10">
                        <a:pos x="T0" y="T1"/>
                      </a:cxn>
                      <a:cxn ang="T11">
                        <a:pos x="T2" y="T3"/>
                      </a:cxn>
                      <a:cxn ang="T12">
                        <a:pos x="T4" y="T5"/>
                      </a:cxn>
                      <a:cxn ang="T13">
                        <a:pos x="T6" y="T7"/>
                      </a:cxn>
                      <a:cxn ang="T14">
                        <a:pos x="T8" y="T9"/>
                      </a:cxn>
                    </a:cxnLst>
                    <a:rect l="T15" t="T16" r="T17" b="T18"/>
                    <a:pathLst>
                      <a:path w="1204" h="87">
                        <a:moveTo>
                          <a:pt x="0" y="87"/>
                        </a:moveTo>
                        <a:lnTo>
                          <a:pt x="1112" y="87"/>
                        </a:lnTo>
                        <a:lnTo>
                          <a:pt x="1204" y="0"/>
                        </a:lnTo>
                        <a:lnTo>
                          <a:pt x="61" y="0"/>
                        </a:lnTo>
                        <a:lnTo>
                          <a:pt x="0" y="87"/>
                        </a:lnTo>
                        <a:close/>
                      </a:path>
                    </a:pathLst>
                  </a:custGeom>
                  <a:solidFill>
                    <a:srgbClr val="A0A0A0"/>
                  </a:solidFill>
                  <a:ln w="3175">
                    <a:solidFill>
                      <a:srgbClr val="808080"/>
                    </a:solidFill>
                    <a:prstDash val="solid"/>
                    <a:round/>
                    <a:headEnd/>
                    <a:tailEnd/>
                  </a:ln>
                </p:spPr>
                <p:txBody>
                  <a:bodyPr/>
                  <a:lstStyle/>
                  <a:p>
                    <a:endParaRPr lang="en-US" sz="1350"/>
                  </a:p>
                </p:txBody>
              </p:sp>
              <p:sp>
                <p:nvSpPr>
                  <p:cNvPr id="75" name="Freeform 155"/>
                  <p:cNvSpPr>
                    <a:spLocks/>
                  </p:cNvSpPr>
                  <p:nvPr/>
                </p:nvSpPr>
                <p:spPr bwMode="auto">
                  <a:xfrm>
                    <a:off x="3400" y="2144"/>
                    <a:ext cx="11" cy="260"/>
                  </a:xfrm>
                  <a:custGeom>
                    <a:avLst/>
                    <a:gdLst>
                      <a:gd name="T0" fmla="*/ 0 w 100"/>
                      <a:gd name="T1" fmla="*/ 0 h 2333"/>
                      <a:gd name="T2" fmla="*/ 0 w 100"/>
                      <a:gd name="T3" fmla="*/ 0 h 2333"/>
                      <a:gd name="T4" fmla="*/ 0 w 100"/>
                      <a:gd name="T5" fmla="*/ 0 h 2333"/>
                      <a:gd name="T6" fmla="*/ 0 w 100"/>
                      <a:gd name="T7" fmla="*/ 0 h 2333"/>
                      <a:gd name="T8" fmla="*/ 0 w 100"/>
                      <a:gd name="T9" fmla="*/ 0 h 2333"/>
                      <a:gd name="T10" fmla="*/ 0 60000 65536"/>
                      <a:gd name="T11" fmla="*/ 0 60000 65536"/>
                      <a:gd name="T12" fmla="*/ 0 60000 65536"/>
                      <a:gd name="T13" fmla="*/ 0 60000 65536"/>
                      <a:gd name="T14" fmla="*/ 0 60000 65536"/>
                      <a:gd name="T15" fmla="*/ 0 w 100"/>
                      <a:gd name="T16" fmla="*/ 0 h 2333"/>
                      <a:gd name="T17" fmla="*/ 100 w 100"/>
                      <a:gd name="T18" fmla="*/ 2333 h 2333"/>
                    </a:gdLst>
                    <a:ahLst/>
                    <a:cxnLst>
                      <a:cxn ang="T10">
                        <a:pos x="T0" y="T1"/>
                      </a:cxn>
                      <a:cxn ang="T11">
                        <a:pos x="T2" y="T3"/>
                      </a:cxn>
                      <a:cxn ang="T12">
                        <a:pos x="T4" y="T5"/>
                      </a:cxn>
                      <a:cxn ang="T13">
                        <a:pos x="T6" y="T7"/>
                      </a:cxn>
                      <a:cxn ang="T14">
                        <a:pos x="T8" y="T9"/>
                      </a:cxn>
                    </a:cxnLst>
                    <a:rect l="T15" t="T16" r="T17" b="T18"/>
                    <a:pathLst>
                      <a:path w="100" h="2333">
                        <a:moveTo>
                          <a:pt x="0" y="0"/>
                        </a:moveTo>
                        <a:lnTo>
                          <a:pt x="51" y="39"/>
                        </a:lnTo>
                        <a:lnTo>
                          <a:pt x="100" y="783"/>
                        </a:lnTo>
                        <a:lnTo>
                          <a:pt x="49" y="868"/>
                        </a:lnTo>
                        <a:lnTo>
                          <a:pt x="47" y="2333"/>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76" name="Freeform 156"/>
                  <p:cNvSpPr>
                    <a:spLocks/>
                  </p:cNvSpPr>
                  <p:nvPr/>
                </p:nvSpPr>
                <p:spPr bwMode="auto">
                  <a:xfrm>
                    <a:off x="3404" y="2145"/>
                    <a:ext cx="10" cy="259"/>
                  </a:xfrm>
                  <a:custGeom>
                    <a:avLst/>
                    <a:gdLst>
                      <a:gd name="T0" fmla="*/ 0 w 94"/>
                      <a:gd name="T1" fmla="*/ 0 h 2334"/>
                      <a:gd name="T2" fmla="*/ 0 w 94"/>
                      <a:gd name="T3" fmla="*/ 0 h 2334"/>
                      <a:gd name="T4" fmla="*/ 0 w 94"/>
                      <a:gd name="T5" fmla="*/ 0 h 2334"/>
                      <a:gd name="T6" fmla="*/ 0 w 94"/>
                      <a:gd name="T7" fmla="*/ 0 h 2334"/>
                      <a:gd name="T8" fmla="*/ 0 w 94"/>
                      <a:gd name="T9" fmla="*/ 0 h 2334"/>
                      <a:gd name="T10" fmla="*/ 0 60000 65536"/>
                      <a:gd name="T11" fmla="*/ 0 60000 65536"/>
                      <a:gd name="T12" fmla="*/ 0 60000 65536"/>
                      <a:gd name="T13" fmla="*/ 0 60000 65536"/>
                      <a:gd name="T14" fmla="*/ 0 60000 65536"/>
                      <a:gd name="T15" fmla="*/ 0 w 94"/>
                      <a:gd name="T16" fmla="*/ 0 h 2334"/>
                      <a:gd name="T17" fmla="*/ 94 w 94"/>
                      <a:gd name="T18" fmla="*/ 2334 h 2334"/>
                    </a:gdLst>
                    <a:ahLst/>
                    <a:cxnLst>
                      <a:cxn ang="T10">
                        <a:pos x="T0" y="T1"/>
                      </a:cxn>
                      <a:cxn ang="T11">
                        <a:pos x="T2" y="T3"/>
                      </a:cxn>
                      <a:cxn ang="T12">
                        <a:pos x="T4" y="T5"/>
                      </a:cxn>
                      <a:cxn ang="T13">
                        <a:pos x="T6" y="T7"/>
                      </a:cxn>
                      <a:cxn ang="T14">
                        <a:pos x="T8" y="T9"/>
                      </a:cxn>
                    </a:cxnLst>
                    <a:rect l="T15" t="T16" r="T17" b="T18"/>
                    <a:pathLst>
                      <a:path w="94" h="2334">
                        <a:moveTo>
                          <a:pt x="0" y="0"/>
                        </a:moveTo>
                        <a:lnTo>
                          <a:pt x="45" y="39"/>
                        </a:lnTo>
                        <a:lnTo>
                          <a:pt x="94" y="782"/>
                        </a:lnTo>
                        <a:lnTo>
                          <a:pt x="44" y="867"/>
                        </a:lnTo>
                        <a:lnTo>
                          <a:pt x="42" y="2334"/>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77" name="Freeform 157"/>
                  <p:cNvSpPr>
                    <a:spLocks/>
                  </p:cNvSpPr>
                  <p:nvPr/>
                </p:nvSpPr>
                <p:spPr bwMode="auto">
                  <a:xfrm>
                    <a:off x="3407" y="2145"/>
                    <a:ext cx="11" cy="259"/>
                  </a:xfrm>
                  <a:custGeom>
                    <a:avLst/>
                    <a:gdLst>
                      <a:gd name="T0" fmla="*/ 0 w 100"/>
                      <a:gd name="T1" fmla="*/ 0 h 2334"/>
                      <a:gd name="T2" fmla="*/ 0 w 100"/>
                      <a:gd name="T3" fmla="*/ 0 h 2334"/>
                      <a:gd name="T4" fmla="*/ 0 w 100"/>
                      <a:gd name="T5" fmla="*/ 0 h 2334"/>
                      <a:gd name="T6" fmla="*/ 0 w 100"/>
                      <a:gd name="T7" fmla="*/ 0 h 2334"/>
                      <a:gd name="T8" fmla="*/ 0 w 100"/>
                      <a:gd name="T9" fmla="*/ 0 h 2334"/>
                      <a:gd name="T10" fmla="*/ 0 60000 65536"/>
                      <a:gd name="T11" fmla="*/ 0 60000 65536"/>
                      <a:gd name="T12" fmla="*/ 0 60000 65536"/>
                      <a:gd name="T13" fmla="*/ 0 60000 65536"/>
                      <a:gd name="T14" fmla="*/ 0 60000 65536"/>
                      <a:gd name="T15" fmla="*/ 0 w 100"/>
                      <a:gd name="T16" fmla="*/ 0 h 2334"/>
                      <a:gd name="T17" fmla="*/ 100 w 100"/>
                      <a:gd name="T18" fmla="*/ 2334 h 2334"/>
                    </a:gdLst>
                    <a:ahLst/>
                    <a:cxnLst>
                      <a:cxn ang="T10">
                        <a:pos x="T0" y="T1"/>
                      </a:cxn>
                      <a:cxn ang="T11">
                        <a:pos x="T2" y="T3"/>
                      </a:cxn>
                      <a:cxn ang="T12">
                        <a:pos x="T4" y="T5"/>
                      </a:cxn>
                      <a:cxn ang="T13">
                        <a:pos x="T6" y="T7"/>
                      </a:cxn>
                      <a:cxn ang="T14">
                        <a:pos x="T8" y="T9"/>
                      </a:cxn>
                    </a:cxnLst>
                    <a:rect l="T15" t="T16" r="T17" b="T18"/>
                    <a:pathLst>
                      <a:path w="100" h="2334">
                        <a:moveTo>
                          <a:pt x="0" y="0"/>
                        </a:moveTo>
                        <a:lnTo>
                          <a:pt x="49" y="39"/>
                        </a:lnTo>
                        <a:lnTo>
                          <a:pt x="100" y="777"/>
                        </a:lnTo>
                        <a:lnTo>
                          <a:pt x="46" y="860"/>
                        </a:lnTo>
                        <a:lnTo>
                          <a:pt x="46" y="2334"/>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78" name="Freeform 158"/>
                  <p:cNvSpPr>
                    <a:spLocks/>
                  </p:cNvSpPr>
                  <p:nvPr/>
                </p:nvSpPr>
                <p:spPr bwMode="auto">
                  <a:xfrm>
                    <a:off x="3411" y="2145"/>
                    <a:ext cx="11" cy="258"/>
                  </a:xfrm>
                  <a:custGeom>
                    <a:avLst/>
                    <a:gdLst>
                      <a:gd name="T0" fmla="*/ 0 w 95"/>
                      <a:gd name="T1" fmla="*/ 0 h 2327"/>
                      <a:gd name="T2" fmla="*/ 0 w 95"/>
                      <a:gd name="T3" fmla="*/ 0 h 2327"/>
                      <a:gd name="T4" fmla="*/ 0 w 95"/>
                      <a:gd name="T5" fmla="*/ 0 h 2327"/>
                      <a:gd name="T6" fmla="*/ 0 w 95"/>
                      <a:gd name="T7" fmla="*/ 0 h 2327"/>
                      <a:gd name="T8" fmla="*/ 0 w 95"/>
                      <a:gd name="T9" fmla="*/ 0 h 2327"/>
                      <a:gd name="T10" fmla="*/ 0 60000 65536"/>
                      <a:gd name="T11" fmla="*/ 0 60000 65536"/>
                      <a:gd name="T12" fmla="*/ 0 60000 65536"/>
                      <a:gd name="T13" fmla="*/ 0 60000 65536"/>
                      <a:gd name="T14" fmla="*/ 0 60000 65536"/>
                      <a:gd name="T15" fmla="*/ 0 w 95"/>
                      <a:gd name="T16" fmla="*/ 0 h 2327"/>
                      <a:gd name="T17" fmla="*/ 95 w 95"/>
                      <a:gd name="T18" fmla="*/ 2327 h 2327"/>
                    </a:gdLst>
                    <a:ahLst/>
                    <a:cxnLst>
                      <a:cxn ang="T10">
                        <a:pos x="T0" y="T1"/>
                      </a:cxn>
                      <a:cxn ang="T11">
                        <a:pos x="T2" y="T3"/>
                      </a:cxn>
                      <a:cxn ang="T12">
                        <a:pos x="T4" y="T5"/>
                      </a:cxn>
                      <a:cxn ang="T13">
                        <a:pos x="T6" y="T7"/>
                      </a:cxn>
                      <a:cxn ang="T14">
                        <a:pos x="T8" y="T9"/>
                      </a:cxn>
                    </a:cxnLst>
                    <a:rect l="T15" t="T16" r="T17" b="T18"/>
                    <a:pathLst>
                      <a:path w="95" h="2327">
                        <a:moveTo>
                          <a:pt x="0" y="0"/>
                        </a:moveTo>
                        <a:lnTo>
                          <a:pt x="46" y="34"/>
                        </a:lnTo>
                        <a:lnTo>
                          <a:pt x="95" y="777"/>
                        </a:lnTo>
                        <a:lnTo>
                          <a:pt x="44" y="861"/>
                        </a:lnTo>
                        <a:lnTo>
                          <a:pt x="42" y="2327"/>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79" name="Freeform 159"/>
                  <p:cNvSpPr>
                    <a:spLocks/>
                  </p:cNvSpPr>
                  <p:nvPr/>
                </p:nvSpPr>
                <p:spPr bwMode="auto">
                  <a:xfrm>
                    <a:off x="3415" y="2144"/>
                    <a:ext cx="11" cy="259"/>
                  </a:xfrm>
                  <a:custGeom>
                    <a:avLst/>
                    <a:gdLst>
                      <a:gd name="T0" fmla="*/ 0 w 95"/>
                      <a:gd name="T1" fmla="*/ 0 h 2326"/>
                      <a:gd name="T2" fmla="*/ 0 w 95"/>
                      <a:gd name="T3" fmla="*/ 0 h 2326"/>
                      <a:gd name="T4" fmla="*/ 0 w 95"/>
                      <a:gd name="T5" fmla="*/ 0 h 2326"/>
                      <a:gd name="T6" fmla="*/ 0 w 95"/>
                      <a:gd name="T7" fmla="*/ 0 h 2326"/>
                      <a:gd name="T8" fmla="*/ 0 w 95"/>
                      <a:gd name="T9" fmla="*/ 0 h 2326"/>
                      <a:gd name="T10" fmla="*/ 0 60000 65536"/>
                      <a:gd name="T11" fmla="*/ 0 60000 65536"/>
                      <a:gd name="T12" fmla="*/ 0 60000 65536"/>
                      <a:gd name="T13" fmla="*/ 0 60000 65536"/>
                      <a:gd name="T14" fmla="*/ 0 60000 65536"/>
                      <a:gd name="T15" fmla="*/ 0 w 95"/>
                      <a:gd name="T16" fmla="*/ 0 h 2326"/>
                      <a:gd name="T17" fmla="*/ 95 w 95"/>
                      <a:gd name="T18" fmla="*/ 2326 h 2326"/>
                    </a:gdLst>
                    <a:ahLst/>
                    <a:cxnLst>
                      <a:cxn ang="T10">
                        <a:pos x="T0" y="T1"/>
                      </a:cxn>
                      <a:cxn ang="T11">
                        <a:pos x="T2" y="T3"/>
                      </a:cxn>
                      <a:cxn ang="T12">
                        <a:pos x="T4" y="T5"/>
                      </a:cxn>
                      <a:cxn ang="T13">
                        <a:pos x="T6" y="T7"/>
                      </a:cxn>
                      <a:cxn ang="T14">
                        <a:pos x="T8" y="T9"/>
                      </a:cxn>
                    </a:cxnLst>
                    <a:rect l="T15" t="T16" r="T17" b="T18"/>
                    <a:pathLst>
                      <a:path w="95" h="2326">
                        <a:moveTo>
                          <a:pt x="0" y="0"/>
                        </a:moveTo>
                        <a:lnTo>
                          <a:pt x="46" y="45"/>
                        </a:lnTo>
                        <a:lnTo>
                          <a:pt x="95" y="776"/>
                        </a:lnTo>
                        <a:lnTo>
                          <a:pt x="43" y="860"/>
                        </a:lnTo>
                        <a:lnTo>
                          <a:pt x="41" y="2326"/>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80" name="Freeform 160"/>
                  <p:cNvSpPr>
                    <a:spLocks/>
                  </p:cNvSpPr>
                  <p:nvPr/>
                </p:nvSpPr>
                <p:spPr bwMode="auto">
                  <a:xfrm>
                    <a:off x="3420" y="2145"/>
                    <a:ext cx="10" cy="258"/>
                  </a:xfrm>
                  <a:custGeom>
                    <a:avLst/>
                    <a:gdLst>
                      <a:gd name="T0" fmla="*/ 0 w 91"/>
                      <a:gd name="T1" fmla="*/ 0 h 2326"/>
                      <a:gd name="T2" fmla="*/ 0 w 91"/>
                      <a:gd name="T3" fmla="*/ 0 h 2326"/>
                      <a:gd name="T4" fmla="*/ 0 w 91"/>
                      <a:gd name="T5" fmla="*/ 0 h 2326"/>
                      <a:gd name="T6" fmla="*/ 0 w 91"/>
                      <a:gd name="T7" fmla="*/ 0 h 2326"/>
                      <a:gd name="T8" fmla="*/ 0 w 91"/>
                      <a:gd name="T9" fmla="*/ 0 h 2326"/>
                      <a:gd name="T10" fmla="*/ 0 60000 65536"/>
                      <a:gd name="T11" fmla="*/ 0 60000 65536"/>
                      <a:gd name="T12" fmla="*/ 0 60000 65536"/>
                      <a:gd name="T13" fmla="*/ 0 60000 65536"/>
                      <a:gd name="T14" fmla="*/ 0 60000 65536"/>
                      <a:gd name="T15" fmla="*/ 0 w 91"/>
                      <a:gd name="T16" fmla="*/ 0 h 2326"/>
                      <a:gd name="T17" fmla="*/ 91 w 91"/>
                      <a:gd name="T18" fmla="*/ 2326 h 2326"/>
                    </a:gdLst>
                    <a:ahLst/>
                    <a:cxnLst>
                      <a:cxn ang="T10">
                        <a:pos x="T0" y="T1"/>
                      </a:cxn>
                      <a:cxn ang="T11">
                        <a:pos x="T2" y="T3"/>
                      </a:cxn>
                      <a:cxn ang="T12">
                        <a:pos x="T4" y="T5"/>
                      </a:cxn>
                      <a:cxn ang="T13">
                        <a:pos x="T6" y="T7"/>
                      </a:cxn>
                      <a:cxn ang="T14">
                        <a:pos x="T8" y="T9"/>
                      </a:cxn>
                    </a:cxnLst>
                    <a:rect l="T15" t="T16" r="T17" b="T18"/>
                    <a:pathLst>
                      <a:path w="91" h="2326">
                        <a:moveTo>
                          <a:pt x="0" y="0"/>
                        </a:moveTo>
                        <a:lnTo>
                          <a:pt x="42" y="39"/>
                        </a:lnTo>
                        <a:lnTo>
                          <a:pt x="91" y="775"/>
                        </a:lnTo>
                        <a:lnTo>
                          <a:pt x="39" y="859"/>
                        </a:lnTo>
                        <a:lnTo>
                          <a:pt x="37" y="2326"/>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81" name="Freeform 161"/>
                  <p:cNvSpPr>
                    <a:spLocks/>
                  </p:cNvSpPr>
                  <p:nvPr/>
                </p:nvSpPr>
                <p:spPr bwMode="auto">
                  <a:xfrm>
                    <a:off x="3423" y="2145"/>
                    <a:ext cx="11" cy="259"/>
                  </a:xfrm>
                  <a:custGeom>
                    <a:avLst/>
                    <a:gdLst>
                      <a:gd name="T0" fmla="*/ 0 w 92"/>
                      <a:gd name="T1" fmla="*/ 0 h 2332"/>
                      <a:gd name="T2" fmla="*/ 0 w 92"/>
                      <a:gd name="T3" fmla="*/ 0 h 2332"/>
                      <a:gd name="T4" fmla="*/ 0 w 92"/>
                      <a:gd name="T5" fmla="*/ 0 h 2332"/>
                      <a:gd name="T6" fmla="*/ 0 w 92"/>
                      <a:gd name="T7" fmla="*/ 0 h 2332"/>
                      <a:gd name="T8" fmla="*/ 0 w 92"/>
                      <a:gd name="T9" fmla="*/ 0 h 2332"/>
                      <a:gd name="T10" fmla="*/ 0 60000 65536"/>
                      <a:gd name="T11" fmla="*/ 0 60000 65536"/>
                      <a:gd name="T12" fmla="*/ 0 60000 65536"/>
                      <a:gd name="T13" fmla="*/ 0 60000 65536"/>
                      <a:gd name="T14" fmla="*/ 0 60000 65536"/>
                      <a:gd name="T15" fmla="*/ 0 w 92"/>
                      <a:gd name="T16" fmla="*/ 0 h 2332"/>
                      <a:gd name="T17" fmla="*/ 92 w 92"/>
                      <a:gd name="T18" fmla="*/ 2332 h 2332"/>
                    </a:gdLst>
                    <a:ahLst/>
                    <a:cxnLst>
                      <a:cxn ang="T10">
                        <a:pos x="T0" y="T1"/>
                      </a:cxn>
                      <a:cxn ang="T11">
                        <a:pos x="T2" y="T3"/>
                      </a:cxn>
                      <a:cxn ang="T12">
                        <a:pos x="T4" y="T5"/>
                      </a:cxn>
                      <a:cxn ang="T13">
                        <a:pos x="T6" y="T7"/>
                      </a:cxn>
                      <a:cxn ang="T14">
                        <a:pos x="T8" y="T9"/>
                      </a:cxn>
                    </a:cxnLst>
                    <a:rect l="T15" t="T16" r="T17" b="T18"/>
                    <a:pathLst>
                      <a:path w="92" h="2332">
                        <a:moveTo>
                          <a:pt x="0" y="0"/>
                        </a:moveTo>
                        <a:lnTo>
                          <a:pt x="41" y="41"/>
                        </a:lnTo>
                        <a:lnTo>
                          <a:pt x="92" y="767"/>
                        </a:lnTo>
                        <a:lnTo>
                          <a:pt x="37" y="858"/>
                        </a:lnTo>
                        <a:lnTo>
                          <a:pt x="37" y="2332"/>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82" name="Freeform 162"/>
                  <p:cNvSpPr>
                    <a:spLocks/>
                  </p:cNvSpPr>
                  <p:nvPr/>
                </p:nvSpPr>
                <p:spPr bwMode="auto">
                  <a:xfrm>
                    <a:off x="3427" y="2145"/>
                    <a:ext cx="10" cy="258"/>
                  </a:xfrm>
                  <a:custGeom>
                    <a:avLst/>
                    <a:gdLst>
                      <a:gd name="T0" fmla="*/ 0 w 91"/>
                      <a:gd name="T1" fmla="*/ 0 h 2320"/>
                      <a:gd name="T2" fmla="*/ 0 w 91"/>
                      <a:gd name="T3" fmla="*/ 0 h 2320"/>
                      <a:gd name="T4" fmla="*/ 0 w 91"/>
                      <a:gd name="T5" fmla="*/ 0 h 2320"/>
                      <a:gd name="T6" fmla="*/ 0 w 91"/>
                      <a:gd name="T7" fmla="*/ 0 h 2320"/>
                      <a:gd name="T8" fmla="*/ 0 w 91"/>
                      <a:gd name="T9" fmla="*/ 0 h 2320"/>
                      <a:gd name="T10" fmla="*/ 0 60000 65536"/>
                      <a:gd name="T11" fmla="*/ 0 60000 65536"/>
                      <a:gd name="T12" fmla="*/ 0 60000 65536"/>
                      <a:gd name="T13" fmla="*/ 0 60000 65536"/>
                      <a:gd name="T14" fmla="*/ 0 60000 65536"/>
                      <a:gd name="T15" fmla="*/ 0 w 91"/>
                      <a:gd name="T16" fmla="*/ 0 h 2320"/>
                      <a:gd name="T17" fmla="*/ 91 w 91"/>
                      <a:gd name="T18" fmla="*/ 2320 h 2320"/>
                    </a:gdLst>
                    <a:ahLst/>
                    <a:cxnLst>
                      <a:cxn ang="T10">
                        <a:pos x="T0" y="T1"/>
                      </a:cxn>
                      <a:cxn ang="T11">
                        <a:pos x="T2" y="T3"/>
                      </a:cxn>
                      <a:cxn ang="T12">
                        <a:pos x="T4" y="T5"/>
                      </a:cxn>
                      <a:cxn ang="T13">
                        <a:pos x="T6" y="T7"/>
                      </a:cxn>
                      <a:cxn ang="T14">
                        <a:pos x="T8" y="T9"/>
                      </a:cxn>
                    </a:cxnLst>
                    <a:rect l="T15" t="T16" r="T17" b="T18"/>
                    <a:pathLst>
                      <a:path w="91" h="2320">
                        <a:moveTo>
                          <a:pt x="0" y="0"/>
                        </a:moveTo>
                        <a:lnTo>
                          <a:pt x="42" y="39"/>
                        </a:lnTo>
                        <a:lnTo>
                          <a:pt x="91" y="770"/>
                        </a:lnTo>
                        <a:lnTo>
                          <a:pt x="41" y="854"/>
                        </a:lnTo>
                        <a:lnTo>
                          <a:pt x="39" y="2320"/>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83" name="Rectangle 163"/>
                  <p:cNvSpPr>
                    <a:spLocks noChangeArrowheads="1"/>
                  </p:cNvSpPr>
                  <p:nvPr/>
                </p:nvSpPr>
                <p:spPr bwMode="auto">
                  <a:xfrm>
                    <a:off x="3434" y="2263"/>
                    <a:ext cx="76" cy="119"/>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84" name="Rectangle 164"/>
                  <p:cNvSpPr>
                    <a:spLocks noChangeArrowheads="1"/>
                  </p:cNvSpPr>
                  <p:nvPr/>
                </p:nvSpPr>
                <p:spPr bwMode="auto">
                  <a:xfrm>
                    <a:off x="3434" y="2288"/>
                    <a:ext cx="76" cy="16"/>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85" name="Rectangle 165"/>
                  <p:cNvSpPr>
                    <a:spLocks noChangeArrowheads="1"/>
                  </p:cNvSpPr>
                  <p:nvPr/>
                </p:nvSpPr>
                <p:spPr bwMode="auto">
                  <a:xfrm>
                    <a:off x="3434" y="2312"/>
                    <a:ext cx="76" cy="22"/>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86" name="Rectangle 166"/>
                  <p:cNvSpPr>
                    <a:spLocks noChangeArrowheads="1"/>
                  </p:cNvSpPr>
                  <p:nvPr/>
                </p:nvSpPr>
                <p:spPr bwMode="auto">
                  <a:xfrm>
                    <a:off x="3434" y="2336"/>
                    <a:ext cx="76" cy="22"/>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87" name="Rectangle 167"/>
                  <p:cNvSpPr>
                    <a:spLocks noChangeArrowheads="1"/>
                  </p:cNvSpPr>
                  <p:nvPr/>
                </p:nvSpPr>
                <p:spPr bwMode="auto">
                  <a:xfrm>
                    <a:off x="3452" y="2294"/>
                    <a:ext cx="46" cy="10"/>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88" name="Rectangle 168"/>
                  <p:cNvSpPr>
                    <a:spLocks noChangeArrowheads="1"/>
                  </p:cNvSpPr>
                  <p:nvPr/>
                </p:nvSpPr>
                <p:spPr bwMode="auto">
                  <a:xfrm>
                    <a:off x="3452" y="2318"/>
                    <a:ext cx="46" cy="10"/>
                  </a:xfrm>
                  <a:prstGeom prst="rect">
                    <a:avLst/>
                  </a:prstGeom>
                  <a:solidFill>
                    <a:srgbClr val="C0C0C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89" name="Freeform 169"/>
                  <p:cNvSpPr>
                    <a:spLocks/>
                  </p:cNvSpPr>
                  <p:nvPr/>
                </p:nvSpPr>
                <p:spPr bwMode="auto">
                  <a:xfrm>
                    <a:off x="3486" y="2264"/>
                    <a:ext cx="4" cy="17"/>
                  </a:xfrm>
                  <a:custGeom>
                    <a:avLst/>
                    <a:gdLst>
                      <a:gd name="T0" fmla="*/ 0 w 32"/>
                      <a:gd name="T1" fmla="*/ 0 h 149"/>
                      <a:gd name="T2" fmla="*/ 0 w 32"/>
                      <a:gd name="T3" fmla="*/ 0 h 149"/>
                      <a:gd name="T4" fmla="*/ 0 w 32"/>
                      <a:gd name="T5" fmla="*/ 0 h 149"/>
                      <a:gd name="T6" fmla="*/ 0 w 32"/>
                      <a:gd name="T7" fmla="*/ 0 h 149"/>
                      <a:gd name="T8" fmla="*/ 0 60000 65536"/>
                      <a:gd name="T9" fmla="*/ 0 60000 65536"/>
                      <a:gd name="T10" fmla="*/ 0 60000 65536"/>
                      <a:gd name="T11" fmla="*/ 0 60000 65536"/>
                      <a:gd name="T12" fmla="*/ 0 w 32"/>
                      <a:gd name="T13" fmla="*/ 0 h 149"/>
                      <a:gd name="T14" fmla="*/ 32 w 32"/>
                      <a:gd name="T15" fmla="*/ 149 h 149"/>
                    </a:gdLst>
                    <a:ahLst/>
                    <a:cxnLst>
                      <a:cxn ang="T8">
                        <a:pos x="T0" y="T1"/>
                      </a:cxn>
                      <a:cxn ang="T9">
                        <a:pos x="T2" y="T3"/>
                      </a:cxn>
                      <a:cxn ang="T10">
                        <a:pos x="T4" y="T5"/>
                      </a:cxn>
                      <a:cxn ang="T11">
                        <a:pos x="T6" y="T7"/>
                      </a:cxn>
                    </a:cxnLst>
                    <a:rect l="T12" t="T13" r="T14" b="T15"/>
                    <a:pathLst>
                      <a:path w="32" h="149">
                        <a:moveTo>
                          <a:pt x="32" y="0"/>
                        </a:moveTo>
                        <a:lnTo>
                          <a:pt x="32" y="149"/>
                        </a:lnTo>
                        <a:lnTo>
                          <a:pt x="0" y="64"/>
                        </a:lnTo>
                        <a:lnTo>
                          <a:pt x="32"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90" name="Rectangle 170"/>
                  <p:cNvSpPr>
                    <a:spLocks noChangeArrowheads="1"/>
                  </p:cNvSpPr>
                  <p:nvPr/>
                </p:nvSpPr>
                <p:spPr bwMode="auto">
                  <a:xfrm>
                    <a:off x="3434" y="2263"/>
                    <a:ext cx="76" cy="17"/>
                  </a:xfrm>
                  <a:prstGeom prst="rect">
                    <a:avLst/>
                  </a:prstGeom>
                  <a:solidFill>
                    <a:srgbClr val="A0A0A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91" name="Rectangle 171"/>
                  <p:cNvSpPr>
                    <a:spLocks noChangeArrowheads="1"/>
                  </p:cNvSpPr>
                  <p:nvPr/>
                </p:nvSpPr>
                <p:spPr bwMode="auto">
                  <a:xfrm>
                    <a:off x="3445" y="2262"/>
                    <a:ext cx="1" cy="1"/>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92" name="Freeform 172"/>
                  <p:cNvSpPr>
                    <a:spLocks/>
                  </p:cNvSpPr>
                  <p:nvPr/>
                </p:nvSpPr>
                <p:spPr bwMode="auto">
                  <a:xfrm>
                    <a:off x="3473" y="2264"/>
                    <a:ext cx="17" cy="8"/>
                  </a:xfrm>
                  <a:custGeom>
                    <a:avLst/>
                    <a:gdLst>
                      <a:gd name="T0" fmla="*/ 0 w 149"/>
                      <a:gd name="T1" fmla="*/ 0 h 68"/>
                      <a:gd name="T2" fmla="*/ 0 w 149"/>
                      <a:gd name="T3" fmla="*/ 0 h 68"/>
                      <a:gd name="T4" fmla="*/ 0 w 149"/>
                      <a:gd name="T5" fmla="*/ 0 h 68"/>
                      <a:gd name="T6" fmla="*/ 0 w 149"/>
                      <a:gd name="T7" fmla="*/ 0 h 68"/>
                      <a:gd name="T8" fmla="*/ 0 w 149"/>
                      <a:gd name="T9" fmla="*/ 0 h 68"/>
                      <a:gd name="T10" fmla="*/ 0 60000 65536"/>
                      <a:gd name="T11" fmla="*/ 0 60000 65536"/>
                      <a:gd name="T12" fmla="*/ 0 60000 65536"/>
                      <a:gd name="T13" fmla="*/ 0 60000 65536"/>
                      <a:gd name="T14" fmla="*/ 0 60000 65536"/>
                      <a:gd name="T15" fmla="*/ 0 w 149"/>
                      <a:gd name="T16" fmla="*/ 0 h 68"/>
                      <a:gd name="T17" fmla="*/ 149 w 149"/>
                      <a:gd name="T18" fmla="*/ 68 h 68"/>
                    </a:gdLst>
                    <a:ahLst/>
                    <a:cxnLst>
                      <a:cxn ang="T10">
                        <a:pos x="T0" y="T1"/>
                      </a:cxn>
                      <a:cxn ang="T11">
                        <a:pos x="T2" y="T3"/>
                      </a:cxn>
                      <a:cxn ang="T12">
                        <a:pos x="T4" y="T5"/>
                      </a:cxn>
                      <a:cxn ang="T13">
                        <a:pos x="T6" y="T7"/>
                      </a:cxn>
                      <a:cxn ang="T14">
                        <a:pos x="T8" y="T9"/>
                      </a:cxn>
                    </a:cxnLst>
                    <a:rect l="T15" t="T16" r="T17" b="T18"/>
                    <a:pathLst>
                      <a:path w="149" h="68">
                        <a:moveTo>
                          <a:pt x="149" y="0"/>
                        </a:moveTo>
                        <a:lnTo>
                          <a:pt x="9" y="0"/>
                        </a:lnTo>
                        <a:lnTo>
                          <a:pt x="0" y="68"/>
                        </a:lnTo>
                        <a:lnTo>
                          <a:pt x="132" y="66"/>
                        </a:lnTo>
                        <a:lnTo>
                          <a:pt x="149"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93" name="Freeform 173"/>
                  <p:cNvSpPr>
                    <a:spLocks/>
                  </p:cNvSpPr>
                  <p:nvPr/>
                </p:nvSpPr>
                <p:spPr bwMode="auto">
                  <a:xfrm>
                    <a:off x="3473" y="2274"/>
                    <a:ext cx="37" cy="7"/>
                  </a:xfrm>
                  <a:custGeom>
                    <a:avLst/>
                    <a:gdLst>
                      <a:gd name="T0" fmla="*/ 0 w 335"/>
                      <a:gd name="T1" fmla="*/ 0 h 65"/>
                      <a:gd name="T2" fmla="*/ 0 w 335"/>
                      <a:gd name="T3" fmla="*/ 0 h 65"/>
                      <a:gd name="T4" fmla="*/ 0 w 335"/>
                      <a:gd name="T5" fmla="*/ 0 h 65"/>
                      <a:gd name="T6" fmla="*/ 0 w 335"/>
                      <a:gd name="T7" fmla="*/ 0 h 65"/>
                      <a:gd name="T8" fmla="*/ 0 w 335"/>
                      <a:gd name="T9" fmla="*/ 0 h 65"/>
                      <a:gd name="T10" fmla="*/ 0 60000 65536"/>
                      <a:gd name="T11" fmla="*/ 0 60000 65536"/>
                      <a:gd name="T12" fmla="*/ 0 60000 65536"/>
                      <a:gd name="T13" fmla="*/ 0 60000 65536"/>
                      <a:gd name="T14" fmla="*/ 0 60000 65536"/>
                      <a:gd name="T15" fmla="*/ 0 w 335"/>
                      <a:gd name="T16" fmla="*/ 0 h 65"/>
                      <a:gd name="T17" fmla="*/ 335 w 335"/>
                      <a:gd name="T18" fmla="*/ 65 h 65"/>
                    </a:gdLst>
                    <a:ahLst/>
                    <a:cxnLst>
                      <a:cxn ang="T10">
                        <a:pos x="T0" y="T1"/>
                      </a:cxn>
                      <a:cxn ang="T11">
                        <a:pos x="T2" y="T3"/>
                      </a:cxn>
                      <a:cxn ang="T12">
                        <a:pos x="T4" y="T5"/>
                      </a:cxn>
                      <a:cxn ang="T13">
                        <a:pos x="T6" y="T7"/>
                      </a:cxn>
                      <a:cxn ang="T14">
                        <a:pos x="T8" y="T9"/>
                      </a:cxn>
                    </a:cxnLst>
                    <a:rect l="T15" t="T16" r="T17" b="T18"/>
                    <a:pathLst>
                      <a:path w="335" h="65">
                        <a:moveTo>
                          <a:pt x="335" y="65"/>
                        </a:moveTo>
                        <a:lnTo>
                          <a:pt x="9" y="65"/>
                        </a:lnTo>
                        <a:lnTo>
                          <a:pt x="0" y="0"/>
                        </a:lnTo>
                        <a:lnTo>
                          <a:pt x="318" y="0"/>
                        </a:lnTo>
                        <a:lnTo>
                          <a:pt x="335" y="65"/>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94" name="Freeform 174"/>
                  <p:cNvSpPr>
                    <a:spLocks/>
                  </p:cNvSpPr>
                  <p:nvPr/>
                </p:nvSpPr>
                <p:spPr bwMode="auto">
                  <a:xfrm>
                    <a:off x="3489" y="2268"/>
                    <a:ext cx="21" cy="4"/>
                  </a:xfrm>
                  <a:custGeom>
                    <a:avLst/>
                    <a:gdLst>
                      <a:gd name="T0" fmla="*/ 0 w 196"/>
                      <a:gd name="T1" fmla="*/ 0 h 35"/>
                      <a:gd name="T2" fmla="*/ 0 w 196"/>
                      <a:gd name="T3" fmla="*/ 0 h 35"/>
                      <a:gd name="T4" fmla="*/ 0 w 196"/>
                      <a:gd name="T5" fmla="*/ 0 h 35"/>
                      <a:gd name="T6" fmla="*/ 0 w 196"/>
                      <a:gd name="T7" fmla="*/ 0 h 35"/>
                      <a:gd name="T8" fmla="*/ 0 w 196"/>
                      <a:gd name="T9" fmla="*/ 0 h 35"/>
                      <a:gd name="T10" fmla="*/ 0 60000 65536"/>
                      <a:gd name="T11" fmla="*/ 0 60000 65536"/>
                      <a:gd name="T12" fmla="*/ 0 60000 65536"/>
                      <a:gd name="T13" fmla="*/ 0 60000 65536"/>
                      <a:gd name="T14" fmla="*/ 0 60000 65536"/>
                      <a:gd name="T15" fmla="*/ 0 w 196"/>
                      <a:gd name="T16" fmla="*/ 0 h 35"/>
                      <a:gd name="T17" fmla="*/ 196 w 196"/>
                      <a:gd name="T18" fmla="*/ 35 h 35"/>
                    </a:gdLst>
                    <a:ahLst/>
                    <a:cxnLst>
                      <a:cxn ang="T10">
                        <a:pos x="T0" y="T1"/>
                      </a:cxn>
                      <a:cxn ang="T11">
                        <a:pos x="T2" y="T3"/>
                      </a:cxn>
                      <a:cxn ang="T12">
                        <a:pos x="T4" y="T5"/>
                      </a:cxn>
                      <a:cxn ang="T13">
                        <a:pos x="T6" y="T7"/>
                      </a:cxn>
                      <a:cxn ang="T14">
                        <a:pos x="T8" y="T9"/>
                      </a:cxn>
                    </a:cxnLst>
                    <a:rect l="T15" t="T16" r="T17" b="T18"/>
                    <a:pathLst>
                      <a:path w="196" h="35">
                        <a:moveTo>
                          <a:pt x="196" y="0"/>
                        </a:moveTo>
                        <a:lnTo>
                          <a:pt x="8" y="0"/>
                        </a:lnTo>
                        <a:lnTo>
                          <a:pt x="0" y="35"/>
                        </a:lnTo>
                        <a:lnTo>
                          <a:pt x="179" y="35"/>
                        </a:lnTo>
                        <a:lnTo>
                          <a:pt x="196"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95" name="Freeform 175"/>
                  <p:cNvSpPr>
                    <a:spLocks/>
                  </p:cNvSpPr>
                  <p:nvPr/>
                </p:nvSpPr>
                <p:spPr bwMode="auto">
                  <a:xfrm>
                    <a:off x="3508" y="2268"/>
                    <a:ext cx="2" cy="13"/>
                  </a:xfrm>
                  <a:custGeom>
                    <a:avLst/>
                    <a:gdLst>
                      <a:gd name="T0" fmla="*/ 0 w 20"/>
                      <a:gd name="T1" fmla="*/ 0 h 120"/>
                      <a:gd name="T2" fmla="*/ 0 w 20"/>
                      <a:gd name="T3" fmla="*/ 0 h 120"/>
                      <a:gd name="T4" fmla="*/ 0 w 20"/>
                      <a:gd name="T5" fmla="*/ 0 h 120"/>
                      <a:gd name="T6" fmla="*/ 0 w 20"/>
                      <a:gd name="T7" fmla="*/ 0 h 120"/>
                      <a:gd name="T8" fmla="*/ 0 60000 65536"/>
                      <a:gd name="T9" fmla="*/ 0 60000 65536"/>
                      <a:gd name="T10" fmla="*/ 0 60000 65536"/>
                      <a:gd name="T11" fmla="*/ 0 60000 65536"/>
                      <a:gd name="T12" fmla="*/ 0 w 20"/>
                      <a:gd name="T13" fmla="*/ 0 h 120"/>
                      <a:gd name="T14" fmla="*/ 20 w 20"/>
                      <a:gd name="T15" fmla="*/ 120 h 120"/>
                    </a:gdLst>
                    <a:ahLst/>
                    <a:cxnLst>
                      <a:cxn ang="T8">
                        <a:pos x="T0" y="T1"/>
                      </a:cxn>
                      <a:cxn ang="T9">
                        <a:pos x="T2" y="T3"/>
                      </a:cxn>
                      <a:cxn ang="T10">
                        <a:pos x="T4" y="T5"/>
                      </a:cxn>
                      <a:cxn ang="T11">
                        <a:pos x="T6" y="T7"/>
                      </a:cxn>
                    </a:cxnLst>
                    <a:rect l="T12" t="T13" r="T14" b="T15"/>
                    <a:pathLst>
                      <a:path w="20" h="120">
                        <a:moveTo>
                          <a:pt x="20" y="0"/>
                        </a:moveTo>
                        <a:lnTo>
                          <a:pt x="20" y="120"/>
                        </a:lnTo>
                        <a:lnTo>
                          <a:pt x="0" y="40"/>
                        </a:lnTo>
                        <a:lnTo>
                          <a:pt x="2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96" name="Oval 176"/>
                  <p:cNvSpPr>
                    <a:spLocks noChangeArrowheads="1"/>
                  </p:cNvSpPr>
                  <p:nvPr/>
                </p:nvSpPr>
                <p:spPr bwMode="auto">
                  <a:xfrm>
                    <a:off x="3487" y="2275"/>
                    <a:ext cx="6" cy="1"/>
                  </a:xfrm>
                  <a:prstGeom prst="ellipse">
                    <a:avLst/>
                  </a:prstGeom>
                  <a:solidFill>
                    <a:srgbClr val="C0C0C0"/>
                  </a:solidFill>
                  <a:ln w="1588">
                    <a:solidFill>
                      <a:srgbClr val="808080"/>
                    </a:solidFill>
                    <a:round/>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97" name="Freeform 177"/>
                  <p:cNvSpPr>
                    <a:spLocks/>
                  </p:cNvSpPr>
                  <p:nvPr/>
                </p:nvSpPr>
                <p:spPr bwMode="auto">
                  <a:xfrm>
                    <a:off x="3488" y="2264"/>
                    <a:ext cx="7" cy="19"/>
                  </a:xfrm>
                  <a:custGeom>
                    <a:avLst/>
                    <a:gdLst>
                      <a:gd name="T0" fmla="*/ 0 w 65"/>
                      <a:gd name="T1" fmla="*/ 0 h 178"/>
                      <a:gd name="T2" fmla="*/ 0 w 65"/>
                      <a:gd name="T3" fmla="*/ 0 h 178"/>
                      <a:gd name="T4" fmla="*/ 0 w 65"/>
                      <a:gd name="T5" fmla="*/ 0 h 178"/>
                      <a:gd name="T6" fmla="*/ 0 w 65"/>
                      <a:gd name="T7" fmla="*/ 0 h 178"/>
                      <a:gd name="T8" fmla="*/ 0 w 65"/>
                      <a:gd name="T9" fmla="*/ 0 h 178"/>
                      <a:gd name="T10" fmla="*/ 0 w 65"/>
                      <a:gd name="T11" fmla="*/ 0 h 178"/>
                      <a:gd name="T12" fmla="*/ 0 w 65"/>
                      <a:gd name="T13" fmla="*/ 0 h 178"/>
                      <a:gd name="T14" fmla="*/ 0 w 65"/>
                      <a:gd name="T15" fmla="*/ 0 h 178"/>
                      <a:gd name="T16" fmla="*/ 0 w 65"/>
                      <a:gd name="T17" fmla="*/ 0 h 178"/>
                      <a:gd name="T18" fmla="*/ 0 w 65"/>
                      <a:gd name="T19" fmla="*/ 0 h 178"/>
                      <a:gd name="T20" fmla="*/ 0 w 65"/>
                      <a:gd name="T21" fmla="*/ 0 h 178"/>
                      <a:gd name="T22" fmla="*/ 0 w 65"/>
                      <a:gd name="T23" fmla="*/ 0 h 1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5"/>
                      <a:gd name="T37" fmla="*/ 0 h 178"/>
                      <a:gd name="T38" fmla="*/ 65 w 65"/>
                      <a:gd name="T39" fmla="*/ 178 h 1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5" h="178">
                        <a:moveTo>
                          <a:pt x="52" y="2"/>
                        </a:moveTo>
                        <a:lnTo>
                          <a:pt x="29" y="0"/>
                        </a:lnTo>
                        <a:lnTo>
                          <a:pt x="13" y="9"/>
                        </a:lnTo>
                        <a:lnTo>
                          <a:pt x="7" y="30"/>
                        </a:lnTo>
                        <a:lnTo>
                          <a:pt x="0" y="70"/>
                        </a:lnTo>
                        <a:lnTo>
                          <a:pt x="16" y="176"/>
                        </a:lnTo>
                        <a:lnTo>
                          <a:pt x="29" y="178"/>
                        </a:lnTo>
                        <a:lnTo>
                          <a:pt x="29" y="85"/>
                        </a:lnTo>
                        <a:lnTo>
                          <a:pt x="58" y="46"/>
                        </a:lnTo>
                        <a:lnTo>
                          <a:pt x="65" y="28"/>
                        </a:lnTo>
                        <a:lnTo>
                          <a:pt x="64" y="11"/>
                        </a:lnTo>
                        <a:lnTo>
                          <a:pt x="52" y="2"/>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98" name="Freeform 178"/>
                  <p:cNvSpPr>
                    <a:spLocks/>
                  </p:cNvSpPr>
                  <p:nvPr/>
                </p:nvSpPr>
                <p:spPr bwMode="auto">
                  <a:xfrm>
                    <a:off x="3489" y="2263"/>
                    <a:ext cx="7" cy="20"/>
                  </a:xfrm>
                  <a:custGeom>
                    <a:avLst/>
                    <a:gdLst>
                      <a:gd name="T0" fmla="*/ 0 w 66"/>
                      <a:gd name="T1" fmla="*/ 0 h 179"/>
                      <a:gd name="T2" fmla="*/ 0 w 66"/>
                      <a:gd name="T3" fmla="*/ 0 h 179"/>
                      <a:gd name="T4" fmla="*/ 0 w 66"/>
                      <a:gd name="T5" fmla="*/ 0 h 179"/>
                      <a:gd name="T6" fmla="*/ 0 w 66"/>
                      <a:gd name="T7" fmla="*/ 0 h 179"/>
                      <a:gd name="T8" fmla="*/ 0 w 66"/>
                      <a:gd name="T9" fmla="*/ 0 h 179"/>
                      <a:gd name="T10" fmla="*/ 0 w 66"/>
                      <a:gd name="T11" fmla="*/ 0 h 179"/>
                      <a:gd name="T12" fmla="*/ 0 w 66"/>
                      <a:gd name="T13" fmla="*/ 0 h 179"/>
                      <a:gd name="T14" fmla="*/ 0 w 66"/>
                      <a:gd name="T15" fmla="*/ 0 h 179"/>
                      <a:gd name="T16" fmla="*/ 0 w 66"/>
                      <a:gd name="T17" fmla="*/ 0 h 179"/>
                      <a:gd name="T18" fmla="*/ 0 w 66"/>
                      <a:gd name="T19" fmla="*/ 0 h 179"/>
                      <a:gd name="T20" fmla="*/ 0 w 66"/>
                      <a:gd name="T21" fmla="*/ 0 h 179"/>
                      <a:gd name="T22" fmla="*/ 0 w 66"/>
                      <a:gd name="T23" fmla="*/ 0 h 1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
                      <a:gd name="T37" fmla="*/ 0 h 179"/>
                      <a:gd name="T38" fmla="*/ 66 w 66"/>
                      <a:gd name="T39" fmla="*/ 179 h 1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 h="179">
                        <a:moveTo>
                          <a:pt x="53" y="3"/>
                        </a:moveTo>
                        <a:lnTo>
                          <a:pt x="29" y="0"/>
                        </a:lnTo>
                        <a:lnTo>
                          <a:pt x="14" y="10"/>
                        </a:lnTo>
                        <a:lnTo>
                          <a:pt x="8" y="31"/>
                        </a:lnTo>
                        <a:lnTo>
                          <a:pt x="0" y="71"/>
                        </a:lnTo>
                        <a:lnTo>
                          <a:pt x="17" y="177"/>
                        </a:lnTo>
                        <a:lnTo>
                          <a:pt x="29" y="179"/>
                        </a:lnTo>
                        <a:lnTo>
                          <a:pt x="29" y="86"/>
                        </a:lnTo>
                        <a:lnTo>
                          <a:pt x="59" y="47"/>
                        </a:lnTo>
                        <a:lnTo>
                          <a:pt x="66" y="29"/>
                        </a:lnTo>
                        <a:lnTo>
                          <a:pt x="64" y="12"/>
                        </a:lnTo>
                        <a:lnTo>
                          <a:pt x="53" y="3"/>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99" name="Freeform 179"/>
                  <p:cNvSpPr>
                    <a:spLocks/>
                  </p:cNvSpPr>
                  <p:nvPr/>
                </p:nvSpPr>
                <p:spPr bwMode="auto">
                  <a:xfrm>
                    <a:off x="3467" y="2301"/>
                    <a:ext cx="21" cy="4"/>
                  </a:xfrm>
                  <a:custGeom>
                    <a:avLst/>
                    <a:gdLst>
                      <a:gd name="T0" fmla="*/ 0 w 187"/>
                      <a:gd name="T1" fmla="*/ 0 h 35"/>
                      <a:gd name="T2" fmla="*/ 0 w 187"/>
                      <a:gd name="T3" fmla="*/ 0 h 35"/>
                      <a:gd name="T4" fmla="*/ 0 w 187"/>
                      <a:gd name="T5" fmla="*/ 0 h 35"/>
                      <a:gd name="T6" fmla="*/ 0 w 187"/>
                      <a:gd name="T7" fmla="*/ 0 h 35"/>
                      <a:gd name="T8" fmla="*/ 0 60000 65536"/>
                      <a:gd name="T9" fmla="*/ 0 60000 65536"/>
                      <a:gd name="T10" fmla="*/ 0 60000 65536"/>
                      <a:gd name="T11" fmla="*/ 0 60000 65536"/>
                      <a:gd name="T12" fmla="*/ 0 w 187"/>
                      <a:gd name="T13" fmla="*/ 0 h 35"/>
                      <a:gd name="T14" fmla="*/ 187 w 187"/>
                      <a:gd name="T15" fmla="*/ 35 h 35"/>
                    </a:gdLst>
                    <a:ahLst/>
                    <a:cxnLst>
                      <a:cxn ang="T8">
                        <a:pos x="T0" y="T1"/>
                      </a:cxn>
                      <a:cxn ang="T9">
                        <a:pos x="T2" y="T3"/>
                      </a:cxn>
                      <a:cxn ang="T10">
                        <a:pos x="T4" y="T5"/>
                      </a:cxn>
                      <a:cxn ang="T11">
                        <a:pos x="T6" y="T7"/>
                      </a:cxn>
                    </a:cxnLst>
                    <a:rect l="T12" t="T13" r="T14" b="T15"/>
                    <a:pathLst>
                      <a:path w="187" h="35">
                        <a:moveTo>
                          <a:pt x="5" y="35"/>
                        </a:moveTo>
                        <a:lnTo>
                          <a:pt x="0" y="0"/>
                        </a:lnTo>
                        <a:lnTo>
                          <a:pt x="182" y="0"/>
                        </a:lnTo>
                        <a:lnTo>
                          <a:pt x="187" y="34"/>
                        </a:lnTo>
                      </a:path>
                    </a:pathLst>
                  </a:custGeom>
                  <a:noFill/>
                  <a:ln w="3175">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350"/>
                  </a:p>
                </p:txBody>
              </p:sp>
              <p:sp>
                <p:nvSpPr>
                  <p:cNvPr id="100" name="Freeform 180"/>
                  <p:cNvSpPr>
                    <a:spLocks/>
                  </p:cNvSpPr>
                  <p:nvPr/>
                </p:nvSpPr>
                <p:spPr bwMode="auto">
                  <a:xfrm>
                    <a:off x="3411" y="2162"/>
                    <a:ext cx="18" cy="19"/>
                  </a:xfrm>
                  <a:custGeom>
                    <a:avLst/>
                    <a:gdLst>
                      <a:gd name="T0" fmla="*/ 0 w 165"/>
                      <a:gd name="T1" fmla="*/ 0 h 177"/>
                      <a:gd name="T2" fmla="*/ 0 w 165"/>
                      <a:gd name="T3" fmla="*/ 0 h 177"/>
                      <a:gd name="T4" fmla="*/ 0 w 165"/>
                      <a:gd name="T5" fmla="*/ 0 h 177"/>
                      <a:gd name="T6" fmla="*/ 0 w 165"/>
                      <a:gd name="T7" fmla="*/ 0 h 177"/>
                      <a:gd name="T8" fmla="*/ 0 w 165"/>
                      <a:gd name="T9" fmla="*/ 0 h 177"/>
                      <a:gd name="T10" fmla="*/ 0 60000 65536"/>
                      <a:gd name="T11" fmla="*/ 0 60000 65536"/>
                      <a:gd name="T12" fmla="*/ 0 60000 65536"/>
                      <a:gd name="T13" fmla="*/ 0 60000 65536"/>
                      <a:gd name="T14" fmla="*/ 0 60000 65536"/>
                      <a:gd name="T15" fmla="*/ 0 w 165"/>
                      <a:gd name="T16" fmla="*/ 0 h 177"/>
                      <a:gd name="T17" fmla="*/ 165 w 165"/>
                      <a:gd name="T18" fmla="*/ 177 h 177"/>
                    </a:gdLst>
                    <a:ahLst/>
                    <a:cxnLst>
                      <a:cxn ang="T10">
                        <a:pos x="T0" y="T1"/>
                      </a:cxn>
                      <a:cxn ang="T11">
                        <a:pos x="T2" y="T3"/>
                      </a:cxn>
                      <a:cxn ang="T12">
                        <a:pos x="T4" y="T5"/>
                      </a:cxn>
                      <a:cxn ang="T13">
                        <a:pos x="T6" y="T7"/>
                      </a:cxn>
                      <a:cxn ang="T14">
                        <a:pos x="T8" y="T9"/>
                      </a:cxn>
                    </a:cxnLst>
                    <a:rect l="T15" t="T16" r="T17" b="T18"/>
                    <a:pathLst>
                      <a:path w="165" h="177">
                        <a:moveTo>
                          <a:pt x="153" y="0"/>
                        </a:moveTo>
                        <a:lnTo>
                          <a:pt x="0" y="0"/>
                        </a:lnTo>
                        <a:lnTo>
                          <a:pt x="11" y="177"/>
                        </a:lnTo>
                        <a:lnTo>
                          <a:pt x="165" y="177"/>
                        </a:lnTo>
                        <a:lnTo>
                          <a:pt x="153" y="0"/>
                        </a:lnTo>
                        <a:close/>
                      </a:path>
                    </a:pathLst>
                  </a:custGeom>
                  <a:solidFill>
                    <a:srgbClr val="C0C0C0"/>
                  </a:solidFill>
                  <a:ln w="3175">
                    <a:solidFill>
                      <a:srgbClr val="808080"/>
                    </a:solidFill>
                    <a:prstDash val="solid"/>
                    <a:round/>
                    <a:headEnd/>
                    <a:tailEnd/>
                  </a:ln>
                </p:spPr>
                <p:txBody>
                  <a:bodyPr/>
                  <a:lstStyle/>
                  <a:p>
                    <a:endParaRPr lang="en-US" sz="1350"/>
                  </a:p>
                </p:txBody>
              </p:sp>
              <p:sp>
                <p:nvSpPr>
                  <p:cNvPr id="101" name="Freeform 181"/>
                  <p:cNvSpPr>
                    <a:spLocks/>
                  </p:cNvSpPr>
                  <p:nvPr/>
                </p:nvSpPr>
                <p:spPr bwMode="auto">
                  <a:xfrm>
                    <a:off x="3413" y="2195"/>
                    <a:ext cx="19" cy="20"/>
                  </a:xfrm>
                  <a:custGeom>
                    <a:avLst/>
                    <a:gdLst>
                      <a:gd name="T0" fmla="*/ 0 w 172"/>
                      <a:gd name="T1" fmla="*/ 0 h 179"/>
                      <a:gd name="T2" fmla="*/ 0 w 172"/>
                      <a:gd name="T3" fmla="*/ 0 h 179"/>
                      <a:gd name="T4" fmla="*/ 0 w 172"/>
                      <a:gd name="T5" fmla="*/ 0 h 179"/>
                      <a:gd name="T6" fmla="*/ 0 w 172"/>
                      <a:gd name="T7" fmla="*/ 0 h 179"/>
                      <a:gd name="T8" fmla="*/ 0 w 172"/>
                      <a:gd name="T9" fmla="*/ 0 h 179"/>
                      <a:gd name="T10" fmla="*/ 0 60000 65536"/>
                      <a:gd name="T11" fmla="*/ 0 60000 65536"/>
                      <a:gd name="T12" fmla="*/ 0 60000 65536"/>
                      <a:gd name="T13" fmla="*/ 0 60000 65536"/>
                      <a:gd name="T14" fmla="*/ 0 60000 65536"/>
                      <a:gd name="T15" fmla="*/ 0 w 172"/>
                      <a:gd name="T16" fmla="*/ 0 h 179"/>
                      <a:gd name="T17" fmla="*/ 172 w 172"/>
                      <a:gd name="T18" fmla="*/ 179 h 179"/>
                    </a:gdLst>
                    <a:ahLst/>
                    <a:cxnLst>
                      <a:cxn ang="T10">
                        <a:pos x="T0" y="T1"/>
                      </a:cxn>
                      <a:cxn ang="T11">
                        <a:pos x="T2" y="T3"/>
                      </a:cxn>
                      <a:cxn ang="T12">
                        <a:pos x="T4" y="T5"/>
                      </a:cxn>
                      <a:cxn ang="T13">
                        <a:pos x="T6" y="T7"/>
                      </a:cxn>
                      <a:cxn ang="T14">
                        <a:pos x="T8" y="T9"/>
                      </a:cxn>
                    </a:cxnLst>
                    <a:rect l="T15" t="T16" r="T17" b="T18"/>
                    <a:pathLst>
                      <a:path w="172" h="179">
                        <a:moveTo>
                          <a:pt x="159" y="0"/>
                        </a:moveTo>
                        <a:lnTo>
                          <a:pt x="0" y="0"/>
                        </a:lnTo>
                        <a:lnTo>
                          <a:pt x="12" y="179"/>
                        </a:lnTo>
                        <a:lnTo>
                          <a:pt x="172" y="178"/>
                        </a:lnTo>
                        <a:lnTo>
                          <a:pt x="159" y="0"/>
                        </a:lnTo>
                        <a:close/>
                      </a:path>
                    </a:pathLst>
                  </a:custGeom>
                  <a:solidFill>
                    <a:srgbClr val="C0C0C0"/>
                  </a:solidFill>
                  <a:ln w="3175">
                    <a:solidFill>
                      <a:srgbClr val="808080"/>
                    </a:solidFill>
                    <a:prstDash val="solid"/>
                    <a:round/>
                    <a:headEnd/>
                    <a:tailEnd/>
                  </a:ln>
                </p:spPr>
                <p:txBody>
                  <a:bodyPr/>
                  <a:lstStyle/>
                  <a:p>
                    <a:endParaRPr lang="en-US" sz="1350"/>
                  </a:p>
                </p:txBody>
              </p:sp>
              <p:sp>
                <p:nvSpPr>
                  <p:cNvPr id="102" name="Rectangle 182"/>
                  <p:cNvSpPr>
                    <a:spLocks noChangeArrowheads="1"/>
                  </p:cNvSpPr>
                  <p:nvPr/>
                </p:nvSpPr>
                <p:spPr bwMode="auto">
                  <a:xfrm>
                    <a:off x="3440" y="2191"/>
                    <a:ext cx="76" cy="16"/>
                  </a:xfrm>
                  <a:prstGeom prst="rect">
                    <a:avLst/>
                  </a:prstGeom>
                  <a:solidFill>
                    <a:srgbClr val="606060"/>
                  </a:solidFill>
                  <a:ln w="3175">
                    <a:solidFill>
                      <a:srgbClr val="808080"/>
                    </a:solidFill>
                    <a:miter lim="800000"/>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03" name="Rectangle 183"/>
                  <p:cNvSpPr>
                    <a:spLocks noChangeArrowheads="1"/>
                  </p:cNvSpPr>
                  <p:nvPr/>
                </p:nvSpPr>
                <p:spPr bwMode="auto">
                  <a:xfrm>
                    <a:off x="3457" y="2196"/>
                    <a:ext cx="1" cy="1"/>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04" name="Rectangle 184"/>
                  <p:cNvSpPr>
                    <a:spLocks noChangeArrowheads="1"/>
                  </p:cNvSpPr>
                  <p:nvPr/>
                </p:nvSpPr>
                <p:spPr bwMode="auto">
                  <a:xfrm>
                    <a:off x="3457" y="2202"/>
                    <a:ext cx="1" cy="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05" name="Rectangle 185"/>
                  <p:cNvSpPr>
                    <a:spLocks noChangeArrowheads="1"/>
                  </p:cNvSpPr>
                  <p:nvPr/>
                </p:nvSpPr>
                <p:spPr bwMode="auto">
                  <a:xfrm>
                    <a:off x="3475" y="2202"/>
                    <a:ext cx="6" cy="1"/>
                  </a:xfrm>
                  <a:prstGeom prst="rect">
                    <a:avLst/>
                  </a:prstGeom>
                  <a:solidFill>
                    <a:srgbClr val="008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106" name="Oval 186"/>
                  <p:cNvSpPr>
                    <a:spLocks noChangeArrowheads="1"/>
                  </p:cNvSpPr>
                  <p:nvPr/>
                </p:nvSpPr>
                <p:spPr bwMode="auto">
                  <a:xfrm>
                    <a:off x="3445" y="2202"/>
                    <a:ext cx="1" cy="1"/>
                  </a:xfrm>
                  <a:prstGeom prst="ellipse">
                    <a:avLst/>
                  </a:pr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grpSp>
            <p:grpSp>
              <p:nvGrpSpPr>
                <p:cNvPr id="38" name="Group 187"/>
                <p:cNvGrpSpPr>
                  <a:grpSpLocks/>
                </p:cNvGrpSpPr>
                <p:nvPr/>
              </p:nvGrpSpPr>
              <p:grpSpPr bwMode="auto">
                <a:xfrm>
                  <a:off x="1913" y="1588"/>
                  <a:ext cx="775" cy="1444"/>
                  <a:chOff x="2153" y="1811"/>
                  <a:chExt cx="547" cy="878"/>
                </a:xfrm>
              </p:grpSpPr>
              <p:sp>
                <p:nvSpPr>
                  <p:cNvPr id="66" name="Line 188"/>
                  <p:cNvSpPr>
                    <a:spLocks noChangeShapeType="1"/>
                  </p:cNvSpPr>
                  <p:nvPr/>
                </p:nvSpPr>
                <p:spPr bwMode="auto">
                  <a:xfrm flipV="1">
                    <a:off x="2153" y="1853"/>
                    <a:ext cx="523" cy="836"/>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7" name="Freeform 189"/>
                  <p:cNvSpPr>
                    <a:spLocks/>
                  </p:cNvSpPr>
                  <p:nvPr/>
                </p:nvSpPr>
                <p:spPr bwMode="auto">
                  <a:xfrm>
                    <a:off x="2640" y="1811"/>
                    <a:ext cx="60" cy="72"/>
                  </a:xfrm>
                  <a:custGeom>
                    <a:avLst/>
                    <a:gdLst>
                      <a:gd name="T0" fmla="*/ 54 w 60"/>
                      <a:gd name="T1" fmla="*/ 72 h 72"/>
                      <a:gd name="T2" fmla="*/ 60 w 60"/>
                      <a:gd name="T3" fmla="*/ 0 h 72"/>
                      <a:gd name="T4" fmla="*/ 0 w 60"/>
                      <a:gd name="T5" fmla="*/ 36 h 72"/>
                      <a:gd name="T6" fmla="*/ 54 w 60"/>
                      <a:gd name="T7" fmla="*/ 72 h 72"/>
                      <a:gd name="T8" fmla="*/ 0 60000 65536"/>
                      <a:gd name="T9" fmla="*/ 0 60000 65536"/>
                      <a:gd name="T10" fmla="*/ 0 60000 65536"/>
                      <a:gd name="T11" fmla="*/ 0 60000 65536"/>
                      <a:gd name="T12" fmla="*/ 0 w 60"/>
                      <a:gd name="T13" fmla="*/ 0 h 72"/>
                      <a:gd name="T14" fmla="*/ 60 w 60"/>
                      <a:gd name="T15" fmla="*/ 72 h 72"/>
                    </a:gdLst>
                    <a:ahLst/>
                    <a:cxnLst>
                      <a:cxn ang="T8">
                        <a:pos x="T0" y="T1"/>
                      </a:cxn>
                      <a:cxn ang="T9">
                        <a:pos x="T2" y="T3"/>
                      </a:cxn>
                      <a:cxn ang="T10">
                        <a:pos x="T4" y="T5"/>
                      </a:cxn>
                      <a:cxn ang="T11">
                        <a:pos x="T6" y="T7"/>
                      </a:cxn>
                    </a:cxnLst>
                    <a:rect l="T12" t="T13" r="T14" b="T15"/>
                    <a:pathLst>
                      <a:path w="60" h="72">
                        <a:moveTo>
                          <a:pt x="54" y="72"/>
                        </a:moveTo>
                        <a:lnTo>
                          <a:pt x="60" y="0"/>
                        </a:lnTo>
                        <a:lnTo>
                          <a:pt x="0" y="36"/>
                        </a:lnTo>
                        <a:lnTo>
                          <a:pt x="54"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grpSp>
            <p:grpSp>
              <p:nvGrpSpPr>
                <p:cNvPr id="39" name="Group 190"/>
                <p:cNvGrpSpPr>
                  <a:grpSpLocks/>
                </p:cNvGrpSpPr>
                <p:nvPr/>
              </p:nvGrpSpPr>
              <p:grpSpPr bwMode="auto">
                <a:xfrm>
                  <a:off x="1916" y="2461"/>
                  <a:ext cx="685" cy="574"/>
                  <a:chOff x="2153" y="2340"/>
                  <a:chExt cx="483" cy="349"/>
                </a:xfrm>
              </p:grpSpPr>
              <p:sp>
                <p:nvSpPr>
                  <p:cNvPr id="64" name="Line 191"/>
                  <p:cNvSpPr>
                    <a:spLocks noChangeShapeType="1"/>
                  </p:cNvSpPr>
                  <p:nvPr/>
                </p:nvSpPr>
                <p:spPr bwMode="auto">
                  <a:xfrm flipV="1">
                    <a:off x="2153" y="2384"/>
                    <a:ext cx="420" cy="305"/>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65" name="Freeform 192"/>
                  <p:cNvSpPr>
                    <a:spLocks/>
                  </p:cNvSpPr>
                  <p:nvPr/>
                </p:nvSpPr>
                <p:spPr bwMode="auto">
                  <a:xfrm>
                    <a:off x="2548" y="2340"/>
                    <a:ext cx="88" cy="75"/>
                  </a:xfrm>
                  <a:custGeom>
                    <a:avLst/>
                    <a:gdLst>
                      <a:gd name="T0" fmla="*/ 36 w 72"/>
                      <a:gd name="T1" fmla="*/ 66 h 66"/>
                      <a:gd name="T2" fmla="*/ 72 w 72"/>
                      <a:gd name="T3" fmla="*/ 0 h 66"/>
                      <a:gd name="T4" fmla="*/ 0 w 72"/>
                      <a:gd name="T5" fmla="*/ 12 h 66"/>
                      <a:gd name="T6" fmla="*/ 36 w 72"/>
                      <a:gd name="T7" fmla="*/ 66 h 66"/>
                      <a:gd name="T8" fmla="*/ 0 60000 65536"/>
                      <a:gd name="T9" fmla="*/ 0 60000 65536"/>
                      <a:gd name="T10" fmla="*/ 0 60000 65536"/>
                      <a:gd name="T11" fmla="*/ 0 60000 65536"/>
                      <a:gd name="T12" fmla="*/ 0 w 72"/>
                      <a:gd name="T13" fmla="*/ 0 h 66"/>
                      <a:gd name="T14" fmla="*/ 72 w 72"/>
                      <a:gd name="T15" fmla="*/ 66 h 66"/>
                    </a:gdLst>
                    <a:ahLst/>
                    <a:cxnLst>
                      <a:cxn ang="T8">
                        <a:pos x="T0" y="T1"/>
                      </a:cxn>
                      <a:cxn ang="T9">
                        <a:pos x="T2" y="T3"/>
                      </a:cxn>
                      <a:cxn ang="T10">
                        <a:pos x="T4" y="T5"/>
                      </a:cxn>
                      <a:cxn ang="T11">
                        <a:pos x="T6" y="T7"/>
                      </a:cxn>
                    </a:cxnLst>
                    <a:rect l="T12" t="T13" r="T14" b="T15"/>
                    <a:pathLst>
                      <a:path w="72" h="66">
                        <a:moveTo>
                          <a:pt x="36" y="66"/>
                        </a:moveTo>
                        <a:lnTo>
                          <a:pt x="72" y="0"/>
                        </a:lnTo>
                        <a:lnTo>
                          <a:pt x="0" y="12"/>
                        </a:lnTo>
                        <a:lnTo>
                          <a:pt x="3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grpSp>
            <p:sp>
              <p:nvSpPr>
                <p:cNvPr id="40" name="Line 194"/>
                <p:cNvSpPr>
                  <a:spLocks noChangeShapeType="1"/>
                </p:cNvSpPr>
                <p:nvPr/>
              </p:nvSpPr>
              <p:spPr bwMode="auto">
                <a:xfrm>
                  <a:off x="1909" y="3025"/>
                  <a:ext cx="688" cy="169"/>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sz="1350"/>
                </a:p>
              </p:txBody>
            </p:sp>
            <p:sp>
              <p:nvSpPr>
                <p:cNvPr id="41" name="Line 196"/>
                <p:cNvSpPr>
                  <a:spLocks noChangeShapeType="1"/>
                </p:cNvSpPr>
                <p:nvPr/>
              </p:nvSpPr>
              <p:spPr bwMode="auto">
                <a:xfrm flipH="1">
                  <a:off x="3863" y="1085"/>
                  <a:ext cx="433" cy="23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2" name="Line 197"/>
                <p:cNvSpPr>
                  <a:spLocks noChangeShapeType="1"/>
                </p:cNvSpPr>
                <p:nvPr/>
              </p:nvSpPr>
              <p:spPr bwMode="auto">
                <a:xfrm flipH="1">
                  <a:off x="3863" y="2063"/>
                  <a:ext cx="433" cy="1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3" name="Line 198"/>
                <p:cNvSpPr>
                  <a:spLocks noChangeShapeType="1"/>
                </p:cNvSpPr>
                <p:nvPr/>
              </p:nvSpPr>
              <p:spPr bwMode="auto">
                <a:xfrm flipH="1">
                  <a:off x="3863" y="2953"/>
                  <a:ext cx="433" cy="19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4" name="Line 199"/>
                <p:cNvSpPr>
                  <a:spLocks noChangeShapeType="1"/>
                </p:cNvSpPr>
                <p:nvPr/>
              </p:nvSpPr>
              <p:spPr bwMode="auto">
                <a:xfrm flipH="1">
                  <a:off x="3211" y="1355"/>
                  <a:ext cx="378" cy="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5" name="Line 200"/>
                <p:cNvSpPr>
                  <a:spLocks noChangeShapeType="1"/>
                </p:cNvSpPr>
                <p:nvPr/>
              </p:nvSpPr>
              <p:spPr bwMode="auto">
                <a:xfrm flipH="1">
                  <a:off x="3207" y="2290"/>
                  <a:ext cx="358" cy="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6" name="Line 201"/>
                <p:cNvSpPr>
                  <a:spLocks noChangeShapeType="1"/>
                </p:cNvSpPr>
                <p:nvPr/>
              </p:nvSpPr>
              <p:spPr bwMode="auto">
                <a:xfrm flipH="1">
                  <a:off x="3156" y="3229"/>
                  <a:ext cx="409" cy="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7" name="Line 202"/>
                <p:cNvSpPr>
                  <a:spLocks noChangeShapeType="1"/>
                </p:cNvSpPr>
                <p:nvPr/>
              </p:nvSpPr>
              <p:spPr bwMode="auto">
                <a:xfrm flipH="1">
                  <a:off x="2015" y="1532"/>
                  <a:ext cx="583" cy="61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8" name="Line 203"/>
                <p:cNvSpPr>
                  <a:spLocks noChangeShapeType="1"/>
                </p:cNvSpPr>
                <p:nvPr/>
              </p:nvSpPr>
              <p:spPr bwMode="auto">
                <a:xfrm flipH="1">
                  <a:off x="2015" y="2251"/>
                  <a:ext cx="537" cy="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9" name="Line 204"/>
                <p:cNvSpPr>
                  <a:spLocks noChangeShapeType="1"/>
                </p:cNvSpPr>
                <p:nvPr/>
              </p:nvSpPr>
              <p:spPr bwMode="auto">
                <a:xfrm flipH="1" flipV="1">
                  <a:off x="2018" y="2359"/>
                  <a:ext cx="578" cy="68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50" name="Line 205"/>
                <p:cNvSpPr>
                  <a:spLocks noChangeShapeType="1"/>
                </p:cNvSpPr>
                <p:nvPr/>
              </p:nvSpPr>
              <p:spPr bwMode="auto">
                <a:xfrm flipH="1">
                  <a:off x="2015" y="1488"/>
                  <a:ext cx="1565" cy="69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51" name="Line 206"/>
                <p:cNvSpPr>
                  <a:spLocks noChangeShapeType="1"/>
                </p:cNvSpPr>
                <p:nvPr/>
              </p:nvSpPr>
              <p:spPr bwMode="auto">
                <a:xfrm flipH="1" flipV="1">
                  <a:off x="3155" y="1551"/>
                  <a:ext cx="432" cy="148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52" name="Rectangle 207"/>
                <p:cNvSpPr>
                  <a:spLocks noChangeArrowheads="1"/>
                </p:cNvSpPr>
                <p:nvPr/>
              </p:nvSpPr>
              <p:spPr bwMode="auto">
                <a:xfrm>
                  <a:off x="1112" y="1748"/>
                  <a:ext cx="877"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53" name="Rectangle 208"/>
                <p:cNvSpPr>
                  <a:spLocks noChangeArrowheads="1"/>
                </p:cNvSpPr>
                <p:nvPr/>
              </p:nvSpPr>
              <p:spPr bwMode="auto">
                <a:xfrm>
                  <a:off x="1095" y="1777"/>
                  <a:ext cx="743" cy="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900">
                      <a:solidFill>
                        <a:srgbClr val="000000"/>
                      </a:solidFill>
                    </a:rPr>
                    <a:t>Data Warehouse</a:t>
                  </a:r>
                  <a:endParaRPr lang="en-US" altLang="en-US" sz="1800" b="0">
                    <a:solidFill>
                      <a:srgbClr val="000000"/>
                    </a:solidFill>
                  </a:endParaRPr>
                </a:p>
              </p:txBody>
            </p:sp>
            <p:sp>
              <p:nvSpPr>
                <p:cNvPr id="54" name="Rectangle 211"/>
                <p:cNvSpPr>
                  <a:spLocks noChangeArrowheads="1"/>
                </p:cNvSpPr>
                <p:nvPr/>
              </p:nvSpPr>
              <p:spPr bwMode="auto">
                <a:xfrm>
                  <a:off x="2735" y="1342"/>
                  <a:ext cx="27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600" b="0">
                      <a:solidFill>
                        <a:srgbClr val="000000"/>
                      </a:solidFill>
                    </a:rPr>
                    <a:t>DM Sales</a:t>
                  </a:r>
                  <a:endParaRPr lang="en-US" altLang="en-US" sz="1800" b="0">
                    <a:solidFill>
                      <a:srgbClr val="000000"/>
                    </a:solidFill>
                  </a:endParaRPr>
                </a:p>
              </p:txBody>
            </p:sp>
            <p:grpSp>
              <p:nvGrpSpPr>
                <p:cNvPr id="55" name="Group 212"/>
                <p:cNvGrpSpPr>
                  <a:grpSpLocks/>
                </p:cNvGrpSpPr>
                <p:nvPr/>
              </p:nvGrpSpPr>
              <p:grpSpPr bwMode="auto">
                <a:xfrm>
                  <a:off x="2695" y="2280"/>
                  <a:ext cx="357" cy="168"/>
                  <a:chOff x="1949" y="2160"/>
                  <a:chExt cx="252" cy="102"/>
                </a:xfrm>
              </p:grpSpPr>
              <p:sp>
                <p:nvSpPr>
                  <p:cNvPr id="62" name="Oval 213"/>
                  <p:cNvSpPr>
                    <a:spLocks noChangeArrowheads="1"/>
                  </p:cNvSpPr>
                  <p:nvPr/>
                </p:nvSpPr>
                <p:spPr bwMode="auto">
                  <a:xfrm>
                    <a:off x="1949" y="2160"/>
                    <a:ext cx="252" cy="102"/>
                  </a:xfrm>
                  <a:prstGeom prst="ellipse">
                    <a:avLst/>
                  </a:prstGeom>
                  <a:solidFill>
                    <a:srgbClr val="FFFFFF"/>
                  </a:solidFill>
                  <a:ln w="9525">
                    <a:solidFill>
                      <a:srgbClr val="000000"/>
                    </a:solidFill>
                    <a:round/>
                    <a:headEnd/>
                    <a:tailEnd/>
                  </a:ln>
                </p:spPr>
                <p:txBody>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63" name="Rectangle 214"/>
                  <p:cNvSpPr>
                    <a:spLocks noChangeArrowheads="1"/>
                  </p:cNvSpPr>
                  <p:nvPr/>
                </p:nvSpPr>
                <p:spPr bwMode="auto">
                  <a:xfrm>
                    <a:off x="1979" y="2178"/>
                    <a:ext cx="147" cy="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600" b="0">
                        <a:solidFill>
                          <a:srgbClr val="000000"/>
                        </a:solidFill>
                      </a:rPr>
                      <a:t>DM HR</a:t>
                    </a:r>
                    <a:endParaRPr lang="en-US" altLang="en-US" sz="1800" b="0">
                      <a:solidFill>
                        <a:srgbClr val="000000"/>
                      </a:solidFill>
                    </a:endParaRPr>
                  </a:p>
                </p:txBody>
              </p:sp>
            </p:grpSp>
            <p:grpSp>
              <p:nvGrpSpPr>
                <p:cNvPr id="56" name="Group 215"/>
                <p:cNvGrpSpPr>
                  <a:grpSpLocks/>
                </p:cNvGrpSpPr>
                <p:nvPr/>
              </p:nvGrpSpPr>
              <p:grpSpPr bwMode="auto">
                <a:xfrm>
                  <a:off x="2573" y="2849"/>
                  <a:ext cx="640" cy="410"/>
                  <a:chOff x="1632" y="1939"/>
                  <a:chExt cx="451" cy="249"/>
                </a:xfrm>
              </p:grpSpPr>
              <p:sp>
                <p:nvSpPr>
                  <p:cNvPr id="60" name="Oval 216"/>
                  <p:cNvSpPr>
                    <a:spLocks noChangeArrowheads="1"/>
                  </p:cNvSpPr>
                  <p:nvPr/>
                </p:nvSpPr>
                <p:spPr bwMode="auto">
                  <a:xfrm>
                    <a:off x="1632" y="1939"/>
                    <a:ext cx="451" cy="114"/>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defRPr/>
                    </a:pPr>
                    <a:endParaRPr lang="en-IN" altLang="en-US" sz="2100"/>
                  </a:p>
                </p:txBody>
              </p:sp>
              <p:sp>
                <p:nvSpPr>
                  <p:cNvPr id="61" name="Rectangle 217"/>
                  <p:cNvSpPr>
                    <a:spLocks noChangeArrowheads="1"/>
                  </p:cNvSpPr>
                  <p:nvPr/>
                </p:nvSpPr>
                <p:spPr bwMode="auto">
                  <a:xfrm>
                    <a:off x="1652" y="2117"/>
                    <a:ext cx="410"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900" b="0">
                        <a:solidFill>
                          <a:srgbClr val="000000"/>
                        </a:solidFill>
                      </a:rPr>
                      <a:t>DM</a:t>
                    </a:r>
                    <a:r>
                      <a:rPr lang="en-US" altLang="en-US" sz="600" b="0">
                        <a:solidFill>
                          <a:srgbClr val="000000"/>
                        </a:solidFill>
                      </a:rPr>
                      <a:t> </a:t>
                    </a:r>
                    <a:r>
                      <a:rPr lang="en-US" altLang="en-US" sz="900" b="0">
                        <a:solidFill>
                          <a:srgbClr val="000000"/>
                        </a:solidFill>
                      </a:rPr>
                      <a:t>Marketing</a:t>
                    </a:r>
                  </a:p>
                </p:txBody>
              </p:sp>
            </p:grpSp>
            <p:grpSp>
              <p:nvGrpSpPr>
                <p:cNvPr id="57" name="Group 218"/>
                <p:cNvGrpSpPr>
                  <a:grpSpLocks/>
                </p:cNvGrpSpPr>
                <p:nvPr/>
              </p:nvGrpSpPr>
              <p:grpSpPr bwMode="auto">
                <a:xfrm>
                  <a:off x="2584" y="1959"/>
                  <a:ext cx="646" cy="572"/>
                  <a:chOff x="2690" y="2597"/>
                  <a:chExt cx="334" cy="312"/>
                </a:xfrm>
              </p:grpSpPr>
              <p:sp>
                <p:nvSpPr>
                  <p:cNvPr id="58" name="Freeform 219"/>
                  <p:cNvSpPr>
                    <a:spLocks/>
                  </p:cNvSpPr>
                  <p:nvPr/>
                </p:nvSpPr>
                <p:spPr bwMode="auto">
                  <a:xfrm>
                    <a:off x="2690" y="2597"/>
                    <a:ext cx="330" cy="312"/>
                  </a:xfrm>
                  <a:custGeom>
                    <a:avLst/>
                    <a:gdLst>
                      <a:gd name="T0" fmla="*/ 28 w 55"/>
                      <a:gd name="T1" fmla="*/ 0 h 52"/>
                      <a:gd name="T2" fmla="*/ 0 w 55"/>
                      <a:gd name="T3" fmla="*/ 8 h 52"/>
                      <a:gd name="T4" fmla="*/ 0 w 55"/>
                      <a:gd name="T5" fmla="*/ 44 h 52"/>
                      <a:gd name="T6" fmla="*/ 28 w 55"/>
                      <a:gd name="T7" fmla="*/ 52 h 52"/>
                      <a:gd name="T8" fmla="*/ 55 w 55"/>
                      <a:gd name="T9" fmla="*/ 44 h 52"/>
                      <a:gd name="T10" fmla="*/ 55 w 55"/>
                      <a:gd name="T11" fmla="*/ 8 h 52"/>
                      <a:gd name="T12" fmla="*/ 28 w 55"/>
                      <a:gd name="T13" fmla="*/ 0 h 52"/>
                      <a:gd name="T14" fmla="*/ 0 60000 65536"/>
                      <a:gd name="T15" fmla="*/ 0 60000 65536"/>
                      <a:gd name="T16" fmla="*/ 0 60000 65536"/>
                      <a:gd name="T17" fmla="*/ 0 60000 65536"/>
                      <a:gd name="T18" fmla="*/ 0 60000 65536"/>
                      <a:gd name="T19" fmla="*/ 0 60000 65536"/>
                      <a:gd name="T20" fmla="*/ 0 60000 65536"/>
                      <a:gd name="T21" fmla="*/ 0 w 55"/>
                      <a:gd name="T22" fmla="*/ 0 h 52"/>
                      <a:gd name="T23" fmla="*/ 55 w 55"/>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2">
                        <a:moveTo>
                          <a:pt x="28" y="0"/>
                        </a:moveTo>
                        <a:cubicBezTo>
                          <a:pt x="13" y="0"/>
                          <a:pt x="0" y="4"/>
                          <a:pt x="0" y="8"/>
                        </a:cubicBezTo>
                        <a:lnTo>
                          <a:pt x="0" y="44"/>
                        </a:lnTo>
                        <a:cubicBezTo>
                          <a:pt x="0" y="48"/>
                          <a:pt x="13" y="52"/>
                          <a:pt x="28" y="52"/>
                        </a:cubicBezTo>
                        <a:cubicBezTo>
                          <a:pt x="43" y="52"/>
                          <a:pt x="55" y="48"/>
                          <a:pt x="55" y="44"/>
                        </a:cubicBezTo>
                        <a:lnTo>
                          <a:pt x="55" y="8"/>
                        </a:lnTo>
                        <a:cubicBezTo>
                          <a:pt x="55" y="4"/>
                          <a:pt x="43" y="0"/>
                          <a:pt x="28" y="0"/>
                        </a:cubicBezTo>
                        <a:close/>
                      </a:path>
                    </a:pathLst>
                  </a:custGeom>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defRPr/>
                    </a:pPr>
                    <a:endParaRPr lang="en-US" sz="1350"/>
                  </a:p>
                </p:txBody>
              </p:sp>
              <p:sp>
                <p:nvSpPr>
                  <p:cNvPr id="59" name="Freeform 220"/>
                  <p:cNvSpPr>
                    <a:spLocks/>
                  </p:cNvSpPr>
                  <p:nvPr/>
                </p:nvSpPr>
                <p:spPr bwMode="auto">
                  <a:xfrm>
                    <a:off x="2694" y="2651"/>
                    <a:ext cx="330" cy="54"/>
                  </a:xfrm>
                  <a:custGeom>
                    <a:avLst/>
                    <a:gdLst>
                      <a:gd name="T0" fmla="*/ 0 w 55"/>
                      <a:gd name="T1" fmla="*/ 0 h 9"/>
                      <a:gd name="T2" fmla="*/ 28 w 55"/>
                      <a:gd name="T3" fmla="*/ 9 h 9"/>
                      <a:gd name="T4" fmla="*/ 55 w 55"/>
                      <a:gd name="T5" fmla="*/ 0 h 9"/>
                      <a:gd name="T6" fmla="*/ 0 60000 65536"/>
                      <a:gd name="T7" fmla="*/ 0 60000 65536"/>
                      <a:gd name="T8" fmla="*/ 0 60000 65536"/>
                      <a:gd name="T9" fmla="*/ 0 w 55"/>
                      <a:gd name="T10" fmla="*/ 0 h 9"/>
                      <a:gd name="T11" fmla="*/ 55 w 55"/>
                      <a:gd name="T12" fmla="*/ 9 h 9"/>
                    </a:gdLst>
                    <a:ahLst/>
                    <a:cxnLst>
                      <a:cxn ang="T6">
                        <a:pos x="T0" y="T1"/>
                      </a:cxn>
                      <a:cxn ang="T7">
                        <a:pos x="T2" y="T3"/>
                      </a:cxn>
                      <a:cxn ang="T8">
                        <a:pos x="T4" y="T5"/>
                      </a:cxn>
                    </a:cxnLst>
                    <a:rect l="T9" t="T10" r="T11" b="T12"/>
                    <a:pathLst>
                      <a:path w="55" h="9">
                        <a:moveTo>
                          <a:pt x="0" y="0"/>
                        </a:moveTo>
                        <a:cubicBezTo>
                          <a:pt x="0" y="5"/>
                          <a:pt x="13" y="9"/>
                          <a:pt x="28" y="9"/>
                        </a:cubicBezTo>
                        <a:cubicBezTo>
                          <a:pt x="43" y="9"/>
                          <a:pt x="55" y="5"/>
                          <a:pt x="55" y="0"/>
                        </a:cubicBezTo>
                      </a:path>
                    </a:pathLst>
                  </a:custGeom>
                  <a:ln w="22225">
                    <a:headEnd/>
                    <a:tailEnd/>
                  </a:ln>
                </p:spPr>
                <p:style>
                  <a:lnRef idx="1">
                    <a:schemeClr val="accent1"/>
                  </a:lnRef>
                  <a:fillRef idx="0">
                    <a:schemeClr val="accent1"/>
                  </a:fillRef>
                  <a:effectRef idx="0">
                    <a:schemeClr val="accent1"/>
                  </a:effectRef>
                  <a:fontRef idx="minor">
                    <a:schemeClr val="tx1"/>
                  </a:fontRef>
                </p:style>
                <p:txBody>
                  <a:bodyPr/>
                  <a:lstStyle/>
                  <a:p>
                    <a:pPr eaLnBrk="1" hangingPunct="1">
                      <a:defRPr/>
                    </a:pPr>
                    <a:endParaRPr lang="en-US" sz="1350">
                      <a:ln w="0"/>
                      <a:effectLst>
                        <a:outerShdw blurRad="38100" dist="19050" dir="2700000" algn="tl" rotWithShape="0">
                          <a:schemeClr val="dk1">
                            <a:alpha val="40000"/>
                          </a:schemeClr>
                        </a:outerShdw>
                      </a:effectLst>
                    </a:endParaRPr>
                  </a:p>
                </p:txBody>
              </p:sp>
            </p:grpSp>
          </p:grpSp>
          <p:sp>
            <p:nvSpPr>
              <p:cNvPr id="6" name="Rectangle 217"/>
              <p:cNvSpPr>
                <a:spLocks noChangeArrowheads="1"/>
              </p:cNvSpPr>
              <p:nvPr/>
            </p:nvSpPr>
            <p:spPr bwMode="auto">
              <a:xfrm>
                <a:off x="4353452" y="3560565"/>
                <a:ext cx="748769" cy="186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900" b="0">
                    <a:solidFill>
                      <a:srgbClr val="000000"/>
                    </a:solidFill>
                  </a:rPr>
                  <a:t>DM HR</a:t>
                </a:r>
              </a:p>
            </p:txBody>
          </p:sp>
          <p:sp>
            <p:nvSpPr>
              <p:cNvPr id="7" name="Freeform 219"/>
              <p:cNvSpPr>
                <a:spLocks/>
              </p:cNvSpPr>
              <p:nvPr/>
            </p:nvSpPr>
            <p:spPr bwMode="auto">
              <a:xfrm>
                <a:off x="4098926" y="1640205"/>
                <a:ext cx="1012825" cy="908050"/>
              </a:xfrm>
              <a:custGeom>
                <a:avLst/>
                <a:gdLst>
                  <a:gd name="T0" fmla="*/ 28 w 55"/>
                  <a:gd name="T1" fmla="*/ 0 h 52"/>
                  <a:gd name="T2" fmla="*/ 0 w 55"/>
                  <a:gd name="T3" fmla="*/ 8 h 52"/>
                  <a:gd name="T4" fmla="*/ 0 w 55"/>
                  <a:gd name="T5" fmla="*/ 44 h 52"/>
                  <a:gd name="T6" fmla="*/ 28 w 55"/>
                  <a:gd name="T7" fmla="*/ 52 h 52"/>
                  <a:gd name="T8" fmla="*/ 55 w 55"/>
                  <a:gd name="T9" fmla="*/ 44 h 52"/>
                  <a:gd name="T10" fmla="*/ 55 w 55"/>
                  <a:gd name="T11" fmla="*/ 8 h 52"/>
                  <a:gd name="T12" fmla="*/ 28 w 55"/>
                  <a:gd name="T13" fmla="*/ 0 h 52"/>
                  <a:gd name="T14" fmla="*/ 0 60000 65536"/>
                  <a:gd name="T15" fmla="*/ 0 60000 65536"/>
                  <a:gd name="T16" fmla="*/ 0 60000 65536"/>
                  <a:gd name="T17" fmla="*/ 0 60000 65536"/>
                  <a:gd name="T18" fmla="*/ 0 60000 65536"/>
                  <a:gd name="T19" fmla="*/ 0 60000 65536"/>
                  <a:gd name="T20" fmla="*/ 0 60000 65536"/>
                  <a:gd name="T21" fmla="*/ 0 w 55"/>
                  <a:gd name="T22" fmla="*/ 0 h 52"/>
                  <a:gd name="T23" fmla="*/ 55 w 55"/>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2">
                    <a:moveTo>
                      <a:pt x="28" y="0"/>
                    </a:moveTo>
                    <a:cubicBezTo>
                      <a:pt x="13" y="0"/>
                      <a:pt x="0" y="4"/>
                      <a:pt x="0" y="8"/>
                    </a:cubicBezTo>
                    <a:lnTo>
                      <a:pt x="0" y="44"/>
                    </a:lnTo>
                    <a:cubicBezTo>
                      <a:pt x="0" y="48"/>
                      <a:pt x="13" y="52"/>
                      <a:pt x="28" y="52"/>
                    </a:cubicBezTo>
                    <a:cubicBezTo>
                      <a:pt x="43" y="52"/>
                      <a:pt x="55" y="48"/>
                      <a:pt x="55" y="44"/>
                    </a:cubicBezTo>
                    <a:lnTo>
                      <a:pt x="55" y="8"/>
                    </a:lnTo>
                    <a:cubicBezTo>
                      <a:pt x="55" y="4"/>
                      <a:pt x="43" y="0"/>
                      <a:pt x="28" y="0"/>
                    </a:cubicBezTo>
                    <a:close/>
                  </a:path>
                </a:pathLst>
              </a:custGeom>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defRPr/>
                </a:pPr>
                <a:endParaRPr lang="en-US" sz="1350"/>
              </a:p>
            </p:txBody>
          </p:sp>
          <p:sp>
            <p:nvSpPr>
              <p:cNvPr id="8" name="Freeform 220"/>
              <p:cNvSpPr>
                <a:spLocks/>
              </p:cNvSpPr>
              <p:nvPr/>
            </p:nvSpPr>
            <p:spPr bwMode="auto">
              <a:xfrm>
                <a:off x="4087813" y="1797367"/>
                <a:ext cx="1012825" cy="157163"/>
              </a:xfrm>
              <a:custGeom>
                <a:avLst/>
                <a:gdLst>
                  <a:gd name="T0" fmla="*/ 0 w 55"/>
                  <a:gd name="T1" fmla="*/ 0 h 9"/>
                  <a:gd name="T2" fmla="*/ 28 w 55"/>
                  <a:gd name="T3" fmla="*/ 9 h 9"/>
                  <a:gd name="T4" fmla="*/ 55 w 55"/>
                  <a:gd name="T5" fmla="*/ 0 h 9"/>
                  <a:gd name="T6" fmla="*/ 0 60000 65536"/>
                  <a:gd name="T7" fmla="*/ 0 60000 65536"/>
                  <a:gd name="T8" fmla="*/ 0 60000 65536"/>
                  <a:gd name="T9" fmla="*/ 0 w 55"/>
                  <a:gd name="T10" fmla="*/ 0 h 9"/>
                  <a:gd name="T11" fmla="*/ 55 w 55"/>
                  <a:gd name="T12" fmla="*/ 9 h 9"/>
                </a:gdLst>
                <a:ahLst/>
                <a:cxnLst>
                  <a:cxn ang="T6">
                    <a:pos x="T0" y="T1"/>
                  </a:cxn>
                  <a:cxn ang="T7">
                    <a:pos x="T2" y="T3"/>
                  </a:cxn>
                  <a:cxn ang="T8">
                    <a:pos x="T4" y="T5"/>
                  </a:cxn>
                </a:cxnLst>
                <a:rect l="T9" t="T10" r="T11" b="T12"/>
                <a:pathLst>
                  <a:path w="55" h="9">
                    <a:moveTo>
                      <a:pt x="0" y="0"/>
                    </a:moveTo>
                    <a:cubicBezTo>
                      <a:pt x="0" y="5"/>
                      <a:pt x="13" y="9"/>
                      <a:pt x="28" y="9"/>
                    </a:cubicBezTo>
                    <a:cubicBezTo>
                      <a:pt x="43" y="9"/>
                      <a:pt x="55" y="5"/>
                      <a:pt x="55" y="0"/>
                    </a:cubicBezTo>
                  </a:path>
                </a:pathLst>
              </a:custGeom>
              <a:ln w="22225">
                <a:headEnd/>
                <a:tailEnd/>
              </a:ln>
            </p:spPr>
            <p:style>
              <a:lnRef idx="1">
                <a:schemeClr val="accent1"/>
              </a:lnRef>
              <a:fillRef idx="0">
                <a:schemeClr val="accent1"/>
              </a:fillRef>
              <a:effectRef idx="0">
                <a:schemeClr val="accent1"/>
              </a:effectRef>
              <a:fontRef idx="minor">
                <a:schemeClr val="tx1"/>
              </a:fontRef>
            </p:style>
            <p:txBody>
              <a:bodyPr/>
              <a:lstStyle/>
              <a:p>
                <a:pPr eaLnBrk="1" hangingPunct="1">
                  <a:defRPr/>
                </a:pPr>
                <a:endParaRPr lang="en-US" sz="1350">
                  <a:ln w="0"/>
                  <a:effectLst>
                    <a:outerShdw blurRad="38100" dist="19050" dir="2700000" algn="tl" rotWithShape="0">
                      <a:schemeClr val="dk1">
                        <a:alpha val="40000"/>
                      </a:schemeClr>
                    </a:outerShdw>
                  </a:effectLst>
                </a:endParaRPr>
              </a:p>
            </p:txBody>
          </p:sp>
          <p:sp>
            <p:nvSpPr>
              <p:cNvPr id="9" name="Rectangle 217"/>
              <p:cNvSpPr>
                <a:spLocks noChangeArrowheads="1"/>
              </p:cNvSpPr>
              <p:nvPr/>
            </p:nvSpPr>
            <p:spPr bwMode="auto">
              <a:xfrm>
                <a:off x="4268559" y="2114239"/>
                <a:ext cx="748769" cy="186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r>
                  <a:rPr lang="en-US" altLang="en-US" sz="900" b="0">
                    <a:solidFill>
                      <a:srgbClr val="000000"/>
                    </a:solidFill>
                  </a:rPr>
                  <a:t>DM Sales</a:t>
                </a:r>
              </a:p>
            </p:txBody>
          </p:sp>
        </p:grpSp>
        <p:sp>
          <p:nvSpPr>
            <p:cNvPr id="222" name="Freeform 192"/>
            <p:cNvSpPr>
              <a:spLocks/>
            </p:cNvSpPr>
            <p:nvPr/>
          </p:nvSpPr>
          <p:spPr bwMode="auto">
            <a:xfrm flipV="1">
              <a:off x="3482266" y="4650036"/>
              <a:ext cx="266618" cy="205833"/>
            </a:xfrm>
            <a:custGeom>
              <a:avLst/>
              <a:gdLst>
                <a:gd name="T0" fmla="*/ 36 w 72"/>
                <a:gd name="T1" fmla="*/ 66 h 66"/>
                <a:gd name="T2" fmla="*/ 72 w 72"/>
                <a:gd name="T3" fmla="*/ 0 h 66"/>
                <a:gd name="T4" fmla="*/ 0 w 72"/>
                <a:gd name="T5" fmla="*/ 12 h 66"/>
                <a:gd name="T6" fmla="*/ 36 w 72"/>
                <a:gd name="T7" fmla="*/ 66 h 66"/>
                <a:gd name="T8" fmla="*/ 0 60000 65536"/>
                <a:gd name="T9" fmla="*/ 0 60000 65536"/>
                <a:gd name="T10" fmla="*/ 0 60000 65536"/>
                <a:gd name="T11" fmla="*/ 0 60000 65536"/>
                <a:gd name="T12" fmla="*/ 0 w 72"/>
                <a:gd name="T13" fmla="*/ 0 h 66"/>
                <a:gd name="T14" fmla="*/ 72 w 72"/>
                <a:gd name="T15" fmla="*/ 66 h 66"/>
              </a:gdLst>
              <a:ahLst/>
              <a:cxnLst>
                <a:cxn ang="T8">
                  <a:pos x="T0" y="T1"/>
                </a:cxn>
                <a:cxn ang="T9">
                  <a:pos x="T2" y="T3"/>
                </a:cxn>
                <a:cxn ang="T10">
                  <a:pos x="T4" y="T5"/>
                </a:cxn>
                <a:cxn ang="T11">
                  <a:pos x="T6" y="T7"/>
                </a:cxn>
              </a:cxnLst>
              <a:rect l="T12" t="T13" r="T14" b="T15"/>
              <a:pathLst>
                <a:path w="72" h="66">
                  <a:moveTo>
                    <a:pt x="36" y="66"/>
                  </a:moveTo>
                  <a:lnTo>
                    <a:pt x="72" y="0"/>
                  </a:lnTo>
                  <a:lnTo>
                    <a:pt x="0" y="12"/>
                  </a:lnTo>
                  <a:lnTo>
                    <a:pt x="3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grpSp>
      <p:pic>
        <p:nvPicPr>
          <p:cNvPr id="223" name="DeloitteW">
            <a:extLst>
              <a:ext uri="{FF2B5EF4-FFF2-40B4-BE49-F238E27FC236}">
                <a16:creationId xmlns:a16="http://schemas.microsoft.com/office/drawing/2014/main" id="{E6D47A8B-059D-42EE-83EE-B2583A279F9D}"/>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Tree>
    <p:extLst>
      <p:ext uri="{BB962C8B-B14F-4D97-AF65-F5344CB8AC3E}">
        <p14:creationId xmlns:p14="http://schemas.microsoft.com/office/powerpoint/2010/main" val="338703431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399" y="172732"/>
            <a:ext cx="8442325" cy="595313"/>
          </a:xfrm>
        </p:spPr>
        <p:txBody>
          <a:bodyPr/>
          <a:lstStyle/>
          <a:p>
            <a:r>
              <a:rPr kumimoji="0" lang="en-US" sz="2800" b="1" i="0" u="none" strike="noStrike" kern="0" cap="none" spc="0" normalizeH="0" baseline="0" noProof="0" dirty="0">
                <a:ln>
                  <a:noFill/>
                </a:ln>
                <a:effectLst/>
                <a:uLnTx/>
                <a:uFillTx/>
                <a:ea typeface="+mj-ea"/>
                <a:cs typeface="+mj-cs"/>
              </a:rPr>
              <a:t>Data Mining</a:t>
            </a:r>
            <a:endParaRPr lang="en-US" sz="2800" b="1" dirty="0"/>
          </a:p>
        </p:txBody>
      </p:sp>
      <p:sp>
        <p:nvSpPr>
          <p:cNvPr id="7" name="Rectangle 3">
            <a:extLst>
              <a:ext uri="{FF2B5EF4-FFF2-40B4-BE49-F238E27FC236}">
                <a16:creationId xmlns:a16="http://schemas.microsoft.com/office/drawing/2014/main" id="{2DC7CF10-411C-4214-BC49-17530F692D9C}"/>
              </a:ext>
            </a:extLst>
          </p:cNvPr>
          <p:cNvSpPr txBox="1">
            <a:spLocks noChangeArrowheads="1"/>
          </p:cNvSpPr>
          <p:nvPr/>
        </p:nvSpPr>
        <p:spPr>
          <a:xfrm>
            <a:off x="198127" y="768045"/>
            <a:ext cx="8556625" cy="5714999"/>
          </a:xfrm>
          <a:prstGeom prst="rect">
            <a:avLst/>
          </a:prstGeom>
          <a:noFill/>
        </p:spPr>
        <p:txBody>
          <a:bodyPr vert="horz" lIns="0" tIns="0" rIns="0" bIns="0" rtlCol="0">
            <a:normAutofit fontScale="85000" lnSpcReduction="20000"/>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Discover Previously unknown data characteristics, relationships, dependencies, or trends</a:t>
            </a:r>
          </a:p>
          <a:p>
            <a:pPr marL="285750" indent="-285750">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Typical Data Analysis Relies on end users </a:t>
            </a:r>
          </a:p>
          <a:p>
            <a:pPr marL="462146" lvl="2" indent="-285750">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Define the Problem</a:t>
            </a:r>
          </a:p>
          <a:p>
            <a:pPr marL="462146" lvl="2" indent="-285750">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Select the Data</a:t>
            </a:r>
          </a:p>
          <a:p>
            <a:pPr marL="462146" lvl="2" indent="-285750">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Initial the Data Analysis</a:t>
            </a:r>
          </a:p>
          <a:p>
            <a:pPr marL="462146" lvl="2" indent="-285750">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Reacts to External Stimulus</a:t>
            </a:r>
          </a:p>
          <a:p>
            <a:pPr marL="285750" indent="-285750">
              <a:lnSpc>
                <a:spcPct val="90000"/>
              </a:lnSpc>
              <a:buClr>
                <a:srgbClr val="92D050"/>
              </a:buClr>
              <a:buFont typeface="Wingdings" panose="05000000000000000000" pitchFamily="2" charset="2"/>
              <a:buChar char="§"/>
            </a:pPr>
            <a:r>
              <a:rPr lang="en-US" sz="1800" dirty="0">
                <a:latin typeface="Arial" panose="020B0604020202020204" pitchFamily="34" charset="0"/>
                <a:cs typeface="Arial" panose="020B0604020202020204" pitchFamily="34" charset="0"/>
              </a:rPr>
              <a:t>Proactive</a:t>
            </a:r>
          </a:p>
          <a:p>
            <a:pPr marL="285750" indent="-285750">
              <a:lnSpc>
                <a:spcPct val="90000"/>
              </a:lnSpc>
              <a:buClr>
                <a:srgbClr val="92D050"/>
              </a:buClr>
              <a:buFont typeface="Wingdings" panose="05000000000000000000" pitchFamily="2" charset="2"/>
              <a:buChar char="§"/>
            </a:pPr>
            <a:r>
              <a:rPr lang="en-US" sz="1800" dirty="0">
                <a:latin typeface="Arial" panose="020B0604020202020204" pitchFamily="34" charset="0"/>
                <a:cs typeface="Arial" panose="020B0604020202020204" pitchFamily="34" charset="0"/>
              </a:rPr>
              <a:t>Automatically searches</a:t>
            </a:r>
          </a:p>
          <a:p>
            <a:pPr marL="285750" indent="-285750">
              <a:lnSpc>
                <a:spcPct val="90000"/>
              </a:lnSpc>
              <a:buClr>
                <a:srgbClr val="92D050"/>
              </a:buClr>
              <a:buFont typeface="Wingdings" panose="05000000000000000000" pitchFamily="2" charset="2"/>
              <a:buChar char="§"/>
            </a:pPr>
            <a:r>
              <a:rPr lang="en-US" sz="1800" dirty="0">
                <a:latin typeface="Arial" panose="020B0604020202020204" pitchFamily="34" charset="0"/>
                <a:cs typeface="Arial" panose="020B0604020202020204" pitchFamily="34" charset="0"/>
              </a:rPr>
              <a:t>Anomalies</a:t>
            </a:r>
          </a:p>
          <a:p>
            <a:pPr marL="285750" indent="-285750">
              <a:lnSpc>
                <a:spcPct val="90000"/>
              </a:lnSpc>
              <a:buClr>
                <a:srgbClr val="92D050"/>
              </a:buClr>
              <a:buFont typeface="Wingdings" panose="05000000000000000000" pitchFamily="2" charset="2"/>
              <a:buChar char="§"/>
            </a:pPr>
            <a:r>
              <a:rPr lang="en-US" sz="1800" dirty="0">
                <a:latin typeface="Arial" panose="020B0604020202020204" pitchFamily="34" charset="0"/>
                <a:cs typeface="Arial" panose="020B0604020202020204" pitchFamily="34" charset="0"/>
              </a:rPr>
              <a:t>Possible Relationships</a:t>
            </a:r>
          </a:p>
          <a:p>
            <a:pPr marL="285750" indent="-285750">
              <a:lnSpc>
                <a:spcPct val="90000"/>
              </a:lnSpc>
              <a:buClr>
                <a:srgbClr val="92D050"/>
              </a:buClr>
              <a:buFont typeface="Wingdings" panose="05000000000000000000" pitchFamily="2" charset="2"/>
              <a:buChar char="§"/>
            </a:pPr>
            <a:r>
              <a:rPr lang="en-US" sz="1800" dirty="0">
                <a:latin typeface="Arial" panose="020B0604020202020204" pitchFamily="34" charset="0"/>
                <a:cs typeface="Arial" panose="020B0604020202020204" pitchFamily="34" charset="0"/>
              </a:rPr>
              <a:t>Identify Problems before the end-user</a:t>
            </a:r>
          </a:p>
          <a:p>
            <a:pPr marL="285750" indent="-285750">
              <a:lnSpc>
                <a:spcPct val="90000"/>
              </a:lnSpc>
              <a:buClr>
                <a:srgbClr val="92D050"/>
              </a:buClr>
              <a:buFont typeface="Wingdings" panose="05000000000000000000" pitchFamily="2" charset="2"/>
              <a:buChar char="§"/>
            </a:pPr>
            <a:r>
              <a:rPr lang="en-US" sz="1800" dirty="0">
                <a:latin typeface="Arial" panose="020B0604020202020204" pitchFamily="34" charset="0"/>
                <a:cs typeface="Arial" panose="020B0604020202020204" pitchFamily="34" charset="0"/>
              </a:rPr>
              <a:t>Data Mining tools analyze the data, uncover problems or opportunities hidden in data relationships, form computer models based on their findings, and then user the models to predict business behavior – with minimal end-user intervention</a:t>
            </a:r>
          </a:p>
          <a:p>
            <a:pPr marL="285750" indent="-285750">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A methodology designed to perform knowledge-discovery expeditions over the database data with minimal end-user intervention</a:t>
            </a:r>
          </a:p>
          <a:p>
            <a:pPr marL="285750" indent="-285750">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3 Stages of Data</a:t>
            </a:r>
          </a:p>
          <a:p>
            <a:pPr marL="462146" lvl="2" indent="-285750">
              <a:buClr>
                <a:srgbClr val="92D050"/>
              </a:buClr>
              <a:buFont typeface="Wingdings" panose="05000000000000000000" pitchFamily="2" charset="2"/>
              <a:buChar char="§"/>
              <a:defRPr/>
            </a:pPr>
            <a:r>
              <a:rPr lang="en-US" sz="1800" b="0" dirty="0">
                <a:latin typeface="Arial" panose="020B0604020202020204" pitchFamily="34" charset="0"/>
                <a:cs typeface="Arial" panose="020B0604020202020204" pitchFamily="34" charset="0"/>
              </a:rPr>
              <a:t>Data</a:t>
            </a:r>
          </a:p>
          <a:p>
            <a:pPr marL="462146" lvl="2" indent="-285750">
              <a:buClr>
                <a:srgbClr val="92D050"/>
              </a:buClr>
              <a:buFont typeface="Wingdings" panose="05000000000000000000" pitchFamily="2" charset="2"/>
              <a:buChar char="§"/>
              <a:defRPr/>
            </a:pPr>
            <a:r>
              <a:rPr lang="en-US" sz="1800" b="0" dirty="0">
                <a:latin typeface="Arial" panose="020B0604020202020204" pitchFamily="34" charset="0"/>
                <a:cs typeface="Arial" panose="020B0604020202020204" pitchFamily="34" charset="0"/>
              </a:rPr>
              <a:t>Information</a:t>
            </a:r>
          </a:p>
          <a:p>
            <a:pPr marL="462146" lvl="2" indent="-285750">
              <a:buClr>
                <a:srgbClr val="92D050"/>
              </a:buClr>
              <a:buFont typeface="Wingdings" panose="05000000000000000000" pitchFamily="2" charset="2"/>
              <a:buChar char="§"/>
              <a:defRPr/>
            </a:pPr>
            <a:r>
              <a:rPr lang="en-US" sz="1800" b="0" dirty="0">
                <a:latin typeface="Arial" panose="020B0604020202020204" pitchFamily="34" charset="0"/>
                <a:cs typeface="Arial" panose="020B0604020202020204" pitchFamily="34" charset="0"/>
              </a:rPr>
              <a:t>Knowledge</a:t>
            </a:r>
          </a:p>
          <a:p>
            <a:pPr>
              <a:lnSpc>
                <a:spcPct val="90000"/>
              </a:lnSpc>
            </a:pPr>
            <a:endParaRPr lang="en-US" dirty="0"/>
          </a:p>
        </p:txBody>
      </p:sp>
    </p:spTree>
    <p:extLst>
      <p:ext uri="{BB962C8B-B14F-4D97-AF65-F5344CB8AC3E}">
        <p14:creationId xmlns:p14="http://schemas.microsoft.com/office/powerpoint/2010/main" val="377461912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351733" y="6439814"/>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399" y="0"/>
            <a:ext cx="8442325" cy="595313"/>
          </a:xfrm>
        </p:spPr>
        <p:txBody>
          <a:bodyPr/>
          <a:lstStyle/>
          <a:p>
            <a:r>
              <a:rPr lang="en-US" sz="2800" b="1" dirty="0"/>
              <a:t>4 Phases of Data Mining</a:t>
            </a:r>
          </a:p>
        </p:txBody>
      </p:sp>
      <p:sp>
        <p:nvSpPr>
          <p:cNvPr id="6" name="Content Placeholder 2">
            <a:extLst>
              <a:ext uri="{FF2B5EF4-FFF2-40B4-BE49-F238E27FC236}">
                <a16:creationId xmlns:a16="http://schemas.microsoft.com/office/drawing/2014/main" id="{6D81A1E5-C815-4B9A-A9E1-D7E3CB9389A2}"/>
              </a:ext>
            </a:extLst>
          </p:cNvPr>
          <p:cNvSpPr>
            <a:spLocks noGrp="1"/>
          </p:cNvSpPr>
          <p:nvPr>
            <p:ph idx="1"/>
          </p:nvPr>
        </p:nvSpPr>
        <p:spPr>
          <a:xfrm>
            <a:off x="182872" y="410151"/>
            <a:ext cx="8411852" cy="6296635"/>
          </a:xfrm>
        </p:spPr>
        <p:txBody>
          <a:bodyPr>
            <a:noAutofit/>
          </a:bodyPr>
          <a:lstStyle/>
          <a:p>
            <a:pPr marL="285750" indent="-285750" eaLnBrk="1" hangingPunct="1">
              <a:lnSpc>
                <a:spcPct val="9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Data Preparation</a:t>
            </a:r>
          </a:p>
          <a:p>
            <a:pPr marL="462146" lvl="2" indent="-285750">
              <a:lnSpc>
                <a:spcPct val="90000"/>
              </a:lnSpc>
              <a:buClr>
                <a:srgbClr val="92D050"/>
              </a:buClr>
              <a:defRPr/>
            </a:pPr>
            <a:r>
              <a:rPr lang="en-US" sz="1500" b="0" dirty="0">
                <a:latin typeface="Arial" panose="020B0604020202020204" pitchFamily="34" charset="0"/>
                <a:cs typeface="Arial" panose="020B0604020202020204" pitchFamily="34" charset="0"/>
              </a:rPr>
              <a:t>Identify the main data sets to be used by the data mining operation (usually the data warehouse)</a:t>
            </a:r>
          </a:p>
          <a:p>
            <a:pPr marL="285750" indent="-285750" eaLnBrk="1" hangingPunct="1">
              <a:lnSpc>
                <a:spcPct val="9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Data Analysis and Classification</a:t>
            </a:r>
          </a:p>
          <a:p>
            <a:pPr marL="462146" lvl="2" indent="-285750">
              <a:lnSpc>
                <a:spcPct val="90000"/>
              </a:lnSpc>
              <a:buClr>
                <a:srgbClr val="92D050"/>
              </a:buClr>
              <a:defRPr/>
            </a:pPr>
            <a:r>
              <a:rPr lang="en-US" sz="1500" b="0" dirty="0">
                <a:latin typeface="Arial" panose="020B0604020202020204" pitchFamily="34" charset="0"/>
                <a:cs typeface="Arial" panose="020B0604020202020204" pitchFamily="34" charset="0"/>
              </a:rPr>
              <a:t>Study the data to identify common data characteristics or patterns</a:t>
            </a:r>
          </a:p>
          <a:p>
            <a:pPr marL="642141" lvl="3" indent="-285750">
              <a:lnSpc>
                <a:spcPct val="9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Data groupings, classifications, clusters, sequences</a:t>
            </a:r>
          </a:p>
          <a:p>
            <a:pPr marL="642141" lvl="3" indent="-285750">
              <a:lnSpc>
                <a:spcPct val="9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Data dependencies, links, or relationships</a:t>
            </a:r>
          </a:p>
          <a:p>
            <a:pPr marL="642141" lvl="3" indent="-285750">
              <a:lnSpc>
                <a:spcPct val="9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Data patterns, trends, deviation</a:t>
            </a:r>
          </a:p>
          <a:p>
            <a:pPr marL="285750" indent="-285750" eaLnBrk="1" hangingPunct="1">
              <a:lnSpc>
                <a:spcPct val="8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Knowledge Acquisition</a:t>
            </a:r>
          </a:p>
          <a:p>
            <a:pPr marL="462146" lvl="2" indent="-285750">
              <a:lnSpc>
                <a:spcPct val="80000"/>
              </a:lnSpc>
              <a:buClr>
                <a:srgbClr val="92D050"/>
              </a:buClr>
              <a:defRPr/>
            </a:pPr>
            <a:r>
              <a:rPr lang="en-US" sz="1500" b="0" dirty="0">
                <a:latin typeface="Arial" panose="020B0604020202020204" pitchFamily="34" charset="0"/>
                <a:cs typeface="Arial" panose="020B0604020202020204" pitchFamily="34" charset="0"/>
              </a:rPr>
              <a:t>Uses the Results of the Data Analysis and Classification phase</a:t>
            </a:r>
          </a:p>
          <a:p>
            <a:pPr marL="462146" lvl="2" indent="-285750">
              <a:lnSpc>
                <a:spcPct val="80000"/>
              </a:lnSpc>
              <a:buClr>
                <a:srgbClr val="92D050"/>
              </a:buClr>
              <a:defRPr/>
            </a:pPr>
            <a:r>
              <a:rPr lang="en-US" sz="1500" b="0" dirty="0">
                <a:latin typeface="Arial" panose="020B0604020202020204" pitchFamily="34" charset="0"/>
                <a:cs typeface="Arial" panose="020B0604020202020204" pitchFamily="34" charset="0"/>
              </a:rPr>
              <a:t>Data mining tool selects the appropriate modeling or knowledge-acquisition algorithms</a:t>
            </a:r>
          </a:p>
          <a:p>
            <a:pPr lvl="6">
              <a:lnSpc>
                <a:spcPct val="8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Neural Networks</a:t>
            </a:r>
          </a:p>
          <a:p>
            <a:pPr lvl="4">
              <a:lnSpc>
                <a:spcPct val="8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Decision Trees</a:t>
            </a:r>
          </a:p>
          <a:p>
            <a:pPr lvl="4">
              <a:lnSpc>
                <a:spcPct val="8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Rules Induction</a:t>
            </a:r>
          </a:p>
          <a:p>
            <a:pPr lvl="4">
              <a:lnSpc>
                <a:spcPct val="8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Genetic algorithms</a:t>
            </a:r>
          </a:p>
          <a:p>
            <a:pPr lvl="4">
              <a:lnSpc>
                <a:spcPct val="8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Memory-Based Reasoning</a:t>
            </a:r>
          </a:p>
          <a:p>
            <a:pPr marL="285750" indent="-285750" eaLnBrk="1" hangingPunct="1">
              <a:lnSpc>
                <a:spcPct val="8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Prognosis</a:t>
            </a:r>
          </a:p>
          <a:p>
            <a:pPr marL="462146" lvl="2" indent="-285750">
              <a:lnSpc>
                <a:spcPct val="80000"/>
              </a:lnSpc>
              <a:buClr>
                <a:srgbClr val="92D050"/>
              </a:buClr>
              <a:defRPr/>
            </a:pPr>
            <a:r>
              <a:rPr lang="en-US" sz="1500" b="0" dirty="0">
                <a:latin typeface="Arial" panose="020B0604020202020204" pitchFamily="34" charset="0"/>
                <a:cs typeface="Arial" panose="020B0604020202020204" pitchFamily="34" charset="0"/>
              </a:rPr>
              <a:t>Predict Future Behavior</a:t>
            </a:r>
          </a:p>
          <a:p>
            <a:pPr marL="462146" lvl="2" indent="-285750">
              <a:lnSpc>
                <a:spcPct val="80000"/>
              </a:lnSpc>
              <a:buClr>
                <a:srgbClr val="92D050"/>
              </a:buClr>
              <a:defRPr/>
            </a:pPr>
            <a:r>
              <a:rPr lang="en-US" sz="1500" b="0" dirty="0">
                <a:latin typeface="Arial" panose="020B0604020202020204" pitchFamily="34" charset="0"/>
                <a:cs typeface="Arial" panose="020B0604020202020204" pitchFamily="34" charset="0"/>
              </a:rPr>
              <a:t>Forecast Business Outcomes</a:t>
            </a:r>
          </a:p>
          <a:p>
            <a:pPr lvl="4">
              <a:lnSpc>
                <a:spcPct val="80000"/>
              </a:lnSpc>
              <a:buClr>
                <a:srgbClr val="92D050"/>
              </a:buClr>
              <a:buFont typeface="Arial" panose="020B0604020202020204" pitchFamily="34" charset="0"/>
              <a:buChar char="•"/>
              <a:defRPr/>
            </a:pPr>
            <a:r>
              <a:rPr lang="en-US" sz="1500" dirty="0">
                <a:latin typeface="Arial" panose="020B0604020202020204" pitchFamily="34" charset="0"/>
                <a:cs typeface="Arial" panose="020B0604020202020204" pitchFamily="34" charset="0"/>
              </a:rPr>
              <a:t>65% of customers who did not use a particular credit card in the last 6 months are 88% likely to cancel the account.</a:t>
            </a:r>
          </a:p>
          <a:p>
            <a:endParaRPr lang="en-US" sz="1200" dirty="0"/>
          </a:p>
        </p:txBody>
      </p:sp>
    </p:spTree>
    <p:extLst>
      <p:ext uri="{BB962C8B-B14F-4D97-AF65-F5344CB8AC3E}">
        <p14:creationId xmlns:p14="http://schemas.microsoft.com/office/powerpoint/2010/main" val="92020330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68952" y="381000"/>
            <a:ext cx="8439150" cy="757255"/>
          </a:xfrm>
        </p:spPr>
        <p:txBody>
          <a:bodyPr/>
          <a:lstStyle/>
          <a:p>
            <a:r>
              <a:rPr lang="en-US" sz="2800" b="1" dirty="0">
                <a:solidFill>
                  <a:schemeClr val="tx1"/>
                </a:solidFill>
              </a:rPr>
              <a:t>Overview of Schemas</a:t>
            </a:r>
          </a:p>
        </p:txBody>
      </p:sp>
      <p:sp>
        <p:nvSpPr>
          <p:cNvPr id="4" name="Rectangle 3"/>
          <p:cNvSpPr txBox="1">
            <a:spLocks noChangeArrowheads="1"/>
          </p:cNvSpPr>
          <p:nvPr/>
        </p:nvSpPr>
        <p:spPr>
          <a:xfrm>
            <a:off x="152400" y="739428"/>
            <a:ext cx="8555702" cy="4594571"/>
          </a:xfrm>
          <a:prstGeom prst="rect">
            <a:avLst/>
          </a:prstGeom>
        </p:spPr>
        <p:txBody>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ltLang="en-US" sz="1350" b="1" dirty="0"/>
          </a:p>
          <a:p>
            <a:pPr lvl="1" algn="just">
              <a:lnSpc>
                <a:spcPct val="150000"/>
              </a:lnSpc>
              <a:buClr>
                <a:srgbClr val="92D050"/>
              </a:buClr>
              <a:buFont typeface="Arial" panose="020B0604020202020204" pitchFamily="34" charset="0"/>
              <a:buChar char="•"/>
            </a:pPr>
            <a:r>
              <a:rPr lang="en-US" altLang="en-US" sz="1900" dirty="0">
                <a:solidFill>
                  <a:schemeClr val="tx1"/>
                </a:solidFill>
                <a:latin typeface="Arial" panose="020B0604020202020204" pitchFamily="34" charset="0"/>
                <a:cs typeface="Arial" panose="020B0604020202020204" pitchFamily="34" charset="0"/>
              </a:rPr>
              <a:t>A schema is a collection of database objects, including tables, views, indexes, and synonyms.</a:t>
            </a:r>
          </a:p>
          <a:p>
            <a:pPr lvl="1" algn="just">
              <a:lnSpc>
                <a:spcPct val="150000"/>
              </a:lnSpc>
              <a:buClr>
                <a:srgbClr val="92D050"/>
              </a:buClr>
              <a:buFont typeface="Arial" panose="020B0604020202020204" pitchFamily="34" charset="0"/>
              <a:buChar char="•"/>
            </a:pPr>
            <a:endParaRPr lang="en-US" altLang="en-US" sz="1900" dirty="0">
              <a:solidFill>
                <a:schemeClr val="tx1"/>
              </a:solidFill>
              <a:latin typeface="Arial" panose="020B0604020202020204" pitchFamily="34" charset="0"/>
              <a:cs typeface="Arial" panose="020B0604020202020204" pitchFamily="34" charset="0"/>
            </a:endParaRPr>
          </a:p>
          <a:p>
            <a:pPr lvl="1" algn="just">
              <a:lnSpc>
                <a:spcPct val="150000"/>
              </a:lnSpc>
              <a:buClr>
                <a:srgbClr val="92D050"/>
              </a:buClr>
              <a:buFont typeface="Arial" panose="020B0604020202020204" pitchFamily="34" charset="0"/>
              <a:buChar char="•"/>
            </a:pPr>
            <a:r>
              <a:rPr lang="en-US" altLang="en-US" sz="1900" dirty="0">
                <a:solidFill>
                  <a:schemeClr val="tx1"/>
                </a:solidFill>
                <a:latin typeface="Arial" panose="020B0604020202020204" pitchFamily="34" charset="0"/>
                <a:cs typeface="Arial" panose="020B0604020202020204" pitchFamily="34" charset="0"/>
              </a:rPr>
              <a:t>There is a variety of ways of arranging schema objects in the schema models designed for data warehousing. </a:t>
            </a:r>
          </a:p>
          <a:p>
            <a:pPr marL="514350" lvl="2" indent="-342900" algn="just">
              <a:lnSpc>
                <a:spcPct val="150000"/>
              </a:lnSpc>
              <a:buClr>
                <a:srgbClr val="92D050"/>
              </a:buClr>
              <a:buFont typeface="Wingdings" panose="05000000000000000000" pitchFamily="2" charset="2"/>
              <a:buChar char="Ø"/>
            </a:pPr>
            <a:r>
              <a:rPr lang="en-US" altLang="en-US" sz="1900" dirty="0">
                <a:solidFill>
                  <a:schemeClr val="tx1"/>
                </a:solidFill>
                <a:latin typeface="Arial" panose="020B0604020202020204" pitchFamily="34" charset="0"/>
                <a:cs typeface="Arial" panose="020B0604020202020204" pitchFamily="34" charset="0"/>
              </a:rPr>
              <a:t>Star Schema</a:t>
            </a:r>
          </a:p>
          <a:p>
            <a:pPr marL="514350" lvl="2" indent="-342900" algn="just">
              <a:lnSpc>
                <a:spcPct val="150000"/>
              </a:lnSpc>
              <a:buClr>
                <a:srgbClr val="92D050"/>
              </a:buClr>
              <a:buFont typeface="Wingdings" panose="05000000000000000000" pitchFamily="2" charset="2"/>
              <a:buChar char="Ø"/>
            </a:pPr>
            <a:r>
              <a:rPr lang="en-US" altLang="en-US" sz="1900" dirty="0">
                <a:solidFill>
                  <a:schemeClr val="tx1"/>
                </a:solidFill>
                <a:latin typeface="Arial" panose="020B0604020202020204" pitchFamily="34" charset="0"/>
                <a:cs typeface="Arial" panose="020B0604020202020204" pitchFamily="34" charset="0"/>
              </a:rPr>
              <a:t>Snowflake Schema</a:t>
            </a:r>
          </a:p>
          <a:p>
            <a:pPr marL="514350" lvl="2" indent="-342900" algn="just">
              <a:lnSpc>
                <a:spcPct val="150000"/>
              </a:lnSpc>
              <a:buClr>
                <a:srgbClr val="92D050"/>
              </a:buClr>
              <a:buFont typeface="Wingdings" panose="05000000000000000000" pitchFamily="2" charset="2"/>
              <a:buChar char="Ø"/>
            </a:pPr>
            <a:r>
              <a:rPr lang="en-US" altLang="en-US" sz="1900" dirty="0">
                <a:solidFill>
                  <a:schemeClr val="tx1"/>
                </a:solidFill>
                <a:latin typeface="Arial" panose="020B0604020202020204" pitchFamily="34" charset="0"/>
                <a:cs typeface="Arial" panose="020B0604020202020204" pitchFamily="34" charset="0"/>
              </a:rPr>
              <a:t>Galaxy Schema</a:t>
            </a:r>
          </a:p>
          <a:p>
            <a:pPr>
              <a:buFont typeface="Wingdings" panose="05000000000000000000" pitchFamily="2" charset="2"/>
              <a:buNone/>
            </a:pPr>
            <a:endParaRPr lang="en-US" altLang="en-US" sz="1350" dirty="0"/>
          </a:p>
        </p:txBody>
      </p:sp>
      <p:pic>
        <p:nvPicPr>
          <p:cNvPr id="7" name="DeloitteW">
            <a:extLst>
              <a:ext uri="{FF2B5EF4-FFF2-40B4-BE49-F238E27FC236}">
                <a16:creationId xmlns:a16="http://schemas.microsoft.com/office/drawing/2014/main" id="{D6B86BBE-5019-4358-90AE-36AA6972C479}"/>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315200" y="6268595"/>
            <a:ext cx="1591952" cy="373635"/>
          </a:xfrm>
          <a:prstGeom prst="rect">
            <a:avLst/>
          </a:prstGeom>
        </p:spPr>
      </p:pic>
    </p:spTree>
    <p:extLst>
      <p:ext uri="{BB962C8B-B14F-4D97-AF65-F5344CB8AC3E}">
        <p14:creationId xmlns:p14="http://schemas.microsoft.com/office/powerpoint/2010/main" val="389975058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6" name="Rectangle 3">
            <a:extLst>
              <a:ext uri="{FF2B5EF4-FFF2-40B4-BE49-F238E27FC236}">
                <a16:creationId xmlns:a16="http://schemas.microsoft.com/office/drawing/2014/main" id="{CF30052D-02A5-47EE-9BC3-561DC5FAA8E5}"/>
              </a:ext>
            </a:extLst>
          </p:cNvPr>
          <p:cNvSpPr txBox="1">
            <a:spLocks noChangeArrowheads="1"/>
          </p:cNvSpPr>
          <p:nvPr/>
        </p:nvSpPr>
        <p:spPr>
          <a:xfrm>
            <a:off x="200140" y="990600"/>
            <a:ext cx="8326863" cy="5309098"/>
          </a:xfrm>
          <a:prstGeom prst="rect">
            <a:avLst/>
          </a:prstGeom>
          <a:noFill/>
        </p:spPr>
        <p:txBody>
          <a:bodyPr vert="horz" lIns="0" tIns="0" rIns="0" bIns="0" rtlCol="0">
            <a:normAutofit fontScale="92500" lnSpcReduction="10000"/>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dirty="0"/>
              <a:t>Data Warehousing - An Overview</a:t>
            </a:r>
          </a:p>
          <a:p>
            <a:r>
              <a:rPr lang="en-US" sz="1800" dirty="0"/>
              <a:t>OLAP vs OLTP</a:t>
            </a:r>
          </a:p>
          <a:p>
            <a:r>
              <a:rPr lang="en-US" sz="1800" dirty="0"/>
              <a:t>Date Warehouse Architecture</a:t>
            </a:r>
          </a:p>
          <a:p>
            <a:r>
              <a:rPr lang="en-US" sz="1800" dirty="0"/>
              <a:t>Data Marts</a:t>
            </a:r>
          </a:p>
          <a:p>
            <a:r>
              <a:rPr lang="en-US" sz="1800" dirty="0"/>
              <a:t>Data Mining</a:t>
            </a:r>
          </a:p>
          <a:p>
            <a:r>
              <a:rPr lang="en-US" sz="1800" dirty="0"/>
              <a:t>Facts</a:t>
            </a:r>
          </a:p>
          <a:p>
            <a:r>
              <a:rPr lang="en-US" sz="1800" dirty="0"/>
              <a:t>Dimensional Model</a:t>
            </a:r>
          </a:p>
          <a:p>
            <a:r>
              <a:rPr lang="en-US" sz="1800" dirty="0"/>
              <a:t>SCD Types – 1,2,3</a:t>
            </a:r>
          </a:p>
          <a:p>
            <a:r>
              <a:rPr lang="en-US" sz="1800" dirty="0"/>
              <a:t>Facts</a:t>
            </a:r>
          </a:p>
          <a:p>
            <a:r>
              <a:rPr lang="en-US" sz="1800" dirty="0"/>
              <a:t>Fact Types</a:t>
            </a:r>
          </a:p>
          <a:p>
            <a:r>
              <a:rPr lang="en-US" sz="1800" dirty="0"/>
              <a:t>Data Cleansing and Profiling</a:t>
            </a:r>
          </a:p>
          <a:p>
            <a:r>
              <a:rPr lang="en-US" sz="1800" dirty="0"/>
              <a:t>ETL – Extract, Transform and Load</a:t>
            </a:r>
          </a:p>
          <a:p>
            <a:r>
              <a:rPr lang="en-US" altLang="en-US" sz="1800" dirty="0"/>
              <a:t>BI introduction</a:t>
            </a:r>
            <a:endParaRPr lang="en-US" sz="1800" dirty="0"/>
          </a:p>
          <a:p>
            <a:r>
              <a:rPr lang="en-US" sz="1800" dirty="0"/>
              <a:t>Cloud</a:t>
            </a:r>
          </a:p>
          <a:p>
            <a:endParaRPr lang="en-US" dirty="0"/>
          </a:p>
          <a:p>
            <a:endParaRPr lang="en-US" dirty="0"/>
          </a:p>
        </p:txBody>
      </p:sp>
      <p:sp>
        <p:nvSpPr>
          <p:cNvPr id="5" name="Text Placeholder 4">
            <a:extLst>
              <a:ext uri="{FF2B5EF4-FFF2-40B4-BE49-F238E27FC236}">
                <a16:creationId xmlns:a16="http://schemas.microsoft.com/office/drawing/2014/main" id="{C3C69205-8A69-44DA-8FB6-94E65453575B}"/>
              </a:ext>
            </a:extLst>
          </p:cNvPr>
          <p:cNvSpPr>
            <a:spLocks noGrp="1"/>
          </p:cNvSpPr>
          <p:nvPr>
            <p:ph type="body" sz="quarter" idx="13"/>
          </p:nvPr>
        </p:nvSpPr>
        <p:spPr>
          <a:xfrm>
            <a:off x="200140" y="382652"/>
            <a:ext cx="8439150" cy="757255"/>
          </a:xfrm>
        </p:spPr>
        <p:txBody>
          <a:bodyPr/>
          <a:lstStyle/>
          <a:p>
            <a:r>
              <a:rPr lang="en-US" sz="2800" b="1" dirty="0">
                <a:solidFill>
                  <a:schemeClr val="tx1"/>
                </a:solidFill>
              </a:rPr>
              <a:t>Roadmap</a:t>
            </a:r>
          </a:p>
        </p:txBody>
      </p:sp>
    </p:spTree>
    <p:extLst>
      <p:ext uri="{BB962C8B-B14F-4D97-AF65-F5344CB8AC3E}">
        <p14:creationId xmlns:p14="http://schemas.microsoft.com/office/powerpoint/2010/main" val="168564387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399" y="172732"/>
            <a:ext cx="8793474" cy="595313"/>
          </a:xfrm>
        </p:spPr>
        <p:txBody>
          <a:bodyPr/>
          <a:lstStyle/>
          <a:p>
            <a:r>
              <a:rPr lang="en-US" sz="2200" b="1" dirty="0"/>
              <a:t>Extraction of Knowledge from Data – Building Insights</a:t>
            </a:r>
          </a:p>
        </p:txBody>
      </p:sp>
      <p:sp>
        <p:nvSpPr>
          <p:cNvPr id="7" name="Rectangle 3">
            <a:extLst>
              <a:ext uri="{FF2B5EF4-FFF2-40B4-BE49-F238E27FC236}">
                <a16:creationId xmlns:a16="http://schemas.microsoft.com/office/drawing/2014/main" id="{2DC7CF10-411C-4214-BC49-17530F692D9C}"/>
              </a:ext>
            </a:extLst>
          </p:cNvPr>
          <p:cNvSpPr txBox="1">
            <a:spLocks noChangeArrowheads="1"/>
          </p:cNvSpPr>
          <p:nvPr/>
        </p:nvSpPr>
        <p:spPr>
          <a:xfrm>
            <a:off x="198127" y="768045"/>
            <a:ext cx="8556625" cy="5714999"/>
          </a:xfrm>
          <a:prstGeom prst="rect">
            <a:avLst/>
          </a:prstGeom>
          <a:noFill/>
        </p:spPr>
        <p:txBody>
          <a:bodyPr vert="horz" lIns="0" tIns="0" rIns="0" bIns="0" rtlCol="0">
            <a:normAutofit/>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pPr>
            <a:endParaRPr lang="en-US" dirty="0"/>
          </a:p>
        </p:txBody>
      </p:sp>
      <p:pic>
        <p:nvPicPr>
          <p:cNvPr id="6" name="Picture 8">
            <a:extLst>
              <a:ext uri="{FF2B5EF4-FFF2-40B4-BE49-F238E27FC236}">
                <a16:creationId xmlns:a16="http://schemas.microsoft.com/office/drawing/2014/main" id="{3E1F6798-04EC-4F4B-8113-2BB81554DAC7}"/>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840253" y="1532942"/>
            <a:ext cx="6141822" cy="3801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extLst>
      <p:ext uri="{BB962C8B-B14F-4D97-AF65-F5344CB8AC3E}">
        <p14:creationId xmlns:p14="http://schemas.microsoft.com/office/powerpoint/2010/main" val="213196290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32710" y="250657"/>
            <a:ext cx="8439150" cy="757255"/>
          </a:xfrm>
        </p:spPr>
        <p:txBody>
          <a:bodyPr/>
          <a:lstStyle/>
          <a:p>
            <a:r>
              <a:rPr lang="en-US" sz="2800" b="1" dirty="0">
                <a:solidFill>
                  <a:schemeClr val="tx1"/>
                </a:solidFill>
              </a:rPr>
              <a:t>Star Schema</a:t>
            </a:r>
          </a:p>
        </p:txBody>
      </p:sp>
      <p:sp>
        <p:nvSpPr>
          <p:cNvPr id="5" name="Text Box 5"/>
          <p:cNvSpPr txBox="1">
            <a:spLocks noChangeArrowheads="1"/>
          </p:cNvSpPr>
          <p:nvPr/>
        </p:nvSpPr>
        <p:spPr bwMode="auto">
          <a:xfrm>
            <a:off x="304250" y="854168"/>
            <a:ext cx="846761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a:tailEnd/>
              </a14:hiddenLine>
            </a:ext>
          </a:extLst>
        </p:spPr>
        <p:txBody>
          <a:bodyPr wrap="square">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just" eaLnBrk="1" hangingPunct="1">
              <a:spcBef>
                <a:spcPct val="50000"/>
              </a:spcBef>
              <a:defRPr/>
            </a:pPr>
            <a:r>
              <a:rPr lang="en-US" altLang="en-US" sz="1800" b="0" dirty="0">
                <a:cs typeface="Arial" panose="020B0604020202020204" pitchFamily="34" charset="0"/>
              </a:rPr>
              <a:t>A star schema a highly De-Normalized, query-centric model where information is broken into two groups: facts and dimensions. </a:t>
            </a:r>
          </a:p>
        </p:txBody>
      </p:sp>
      <p:pic>
        <p:nvPicPr>
          <p:cNvPr id="32" name="DeloitteW">
            <a:extLst>
              <a:ext uri="{FF2B5EF4-FFF2-40B4-BE49-F238E27FC236}">
                <a16:creationId xmlns:a16="http://schemas.microsoft.com/office/drawing/2014/main" id="{41C167C7-C861-458D-9DB2-CD48B3E54100}"/>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315200" y="6268595"/>
            <a:ext cx="1591952" cy="373635"/>
          </a:xfrm>
          <a:prstGeom prst="rect">
            <a:avLst/>
          </a:prstGeom>
        </p:spPr>
      </p:pic>
      <p:pic>
        <p:nvPicPr>
          <p:cNvPr id="33" name="Picture 8">
            <a:extLst>
              <a:ext uri="{FF2B5EF4-FFF2-40B4-BE49-F238E27FC236}">
                <a16:creationId xmlns:a16="http://schemas.microsoft.com/office/drawing/2014/main" id="{29E33AE2-4707-4D73-8041-A199427081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200" y="1715892"/>
            <a:ext cx="5410200" cy="481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extLst>
      <p:ext uri="{BB962C8B-B14F-4D97-AF65-F5344CB8AC3E}">
        <p14:creationId xmlns:p14="http://schemas.microsoft.com/office/powerpoint/2010/main" val="294982682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52425" y="57935"/>
            <a:ext cx="8439150" cy="757255"/>
          </a:xfrm>
        </p:spPr>
        <p:txBody>
          <a:bodyPr/>
          <a:lstStyle/>
          <a:p>
            <a:r>
              <a:rPr lang="en-US" sz="2800" b="1" dirty="0">
                <a:solidFill>
                  <a:schemeClr val="tx1"/>
                </a:solidFill>
              </a:rPr>
              <a:t>Snowflake Schema</a:t>
            </a:r>
          </a:p>
          <a:p>
            <a:r>
              <a:rPr lang="en-US" sz="1700" dirty="0">
                <a:solidFill>
                  <a:schemeClr val="tx1"/>
                </a:solidFill>
                <a:latin typeface="Arial" panose="020B0604020202020204" pitchFamily="34" charset="0"/>
                <a:cs typeface="Arial" panose="020B0604020202020204" pitchFamily="34" charset="0"/>
              </a:rPr>
              <a:t>The snowflake schema is represented by centralized fact tables which are connected to multiple dimensions.</a:t>
            </a:r>
          </a:p>
          <a:p>
            <a:r>
              <a:rPr lang="en-US" sz="1700" dirty="0">
                <a:solidFill>
                  <a:schemeClr val="tx1"/>
                </a:solidFill>
                <a:latin typeface="Arial" panose="020B0604020202020204" pitchFamily="34" charset="0"/>
                <a:cs typeface="Arial" panose="020B0604020202020204" pitchFamily="34" charset="0"/>
              </a:rPr>
              <a:t>The purpose of a snowflake schema is to normalize the denormalized data in a star schema</a:t>
            </a:r>
            <a:r>
              <a:rPr lang="en-US" sz="1700" b="0" i="0" dirty="0">
                <a:solidFill>
                  <a:srgbClr val="BDC1C6"/>
                </a:solidFill>
                <a:effectLst/>
                <a:latin typeface="arial" panose="020B0604020202020204" pitchFamily="34" charset="0"/>
              </a:rPr>
              <a:t>.</a:t>
            </a:r>
            <a:endParaRPr lang="en-US" sz="1700" dirty="0">
              <a:solidFill>
                <a:schemeClr val="tx1"/>
              </a:solidFill>
              <a:latin typeface="Arial" panose="020B0604020202020204" pitchFamily="34" charset="0"/>
              <a:cs typeface="Arial" panose="020B0604020202020204" pitchFamily="34" charset="0"/>
            </a:endParaRPr>
          </a:p>
          <a:p>
            <a:endParaRPr lang="en-US" sz="2800" b="1" dirty="0">
              <a:solidFill>
                <a:schemeClr val="tx1"/>
              </a:solidFill>
            </a:endParaRPr>
          </a:p>
        </p:txBody>
      </p:sp>
      <p:grpSp>
        <p:nvGrpSpPr>
          <p:cNvPr id="45" name="Group 44"/>
          <p:cNvGrpSpPr/>
          <p:nvPr/>
        </p:nvGrpSpPr>
        <p:grpSpPr>
          <a:xfrm>
            <a:off x="838200" y="1655656"/>
            <a:ext cx="7142794" cy="4799756"/>
            <a:chOff x="750888" y="1066800"/>
            <a:chExt cx="7915179" cy="6235436"/>
          </a:xfrm>
        </p:grpSpPr>
        <p:graphicFrame>
          <p:nvGraphicFramePr>
            <p:cNvPr id="32" name="Group 3"/>
            <p:cNvGraphicFramePr>
              <a:graphicFrameLocks/>
            </p:cNvGraphicFramePr>
            <p:nvPr/>
          </p:nvGraphicFramePr>
          <p:xfrm>
            <a:off x="5791200" y="1066800"/>
            <a:ext cx="2652819" cy="4316485"/>
          </p:xfrm>
          <a:graphic>
            <a:graphicData uri="http://schemas.openxmlformats.org/drawingml/2006/table">
              <a:tbl>
                <a:tblPr/>
                <a:tblGrid>
                  <a:gridCol w="2393950">
                    <a:extLst>
                      <a:ext uri="{9D8B030D-6E8A-4147-A177-3AD203B41FA5}">
                        <a16:colId xmlns:a16="http://schemas.microsoft.com/office/drawing/2014/main" val="20000"/>
                      </a:ext>
                    </a:extLst>
                  </a:gridCol>
                </a:tblGrid>
                <a:tr h="304829">
                  <a:tc>
                    <a:txBody>
                      <a:bodyPr/>
                      <a:lstStyle/>
                      <a:p>
                        <a:pPr marL="0" marR="0" lvl="0" indent="0" algn="ctr" defTabSz="914400" rtl="0" eaLnBrk="0" fontAlgn="base" latinLnBrk="0" hangingPunct="0">
                          <a:lnSpc>
                            <a:spcPct val="100000"/>
                          </a:lnSpc>
                          <a:spcBef>
                            <a:spcPct val="0"/>
                          </a:spcBef>
                          <a:spcAft>
                            <a:spcPct val="0"/>
                          </a:spcAft>
                          <a:buClr>
                            <a:schemeClr val="tx1"/>
                          </a:buClr>
                          <a:buSzTx/>
                          <a:buFontTx/>
                          <a:buNone/>
                          <a:tabLst/>
                        </a:pPr>
                        <a:r>
                          <a:rPr kumimoji="0" lang="en-US" sz="1400" b="1" i="0" u="none" strike="noStrike" cap="none" normalizeH="0" baseline="0" err="1">
                            <a:ln>
                              <a:noFill/>
                            </a:ln>
                            <a:solidFill>
                              <a:srgbClr val="00B0F0"/>
                            </a:solidFill>
                            <a:effectLst/>
                            <a:latin typeface="Arial" charset="0"/>
                          </a:rPr>
                          <a:t>Sales_fact</a:t>
                        </a:r>
                        <a:endParaRPr kumimoji="0" lang="en-US" sz="1400" b="1" i="0" u="none" strike="noStrike" cap="none" normalizeH="0" baseline="0">
                          <a:ln>
                            <a:noFill/>
                          </a:ln>
                          <a:solidFill>
                            <a:srgbClr val="00B0F0"/>
                          </a:solidFill>
                          <a:effectLst/>
                          <a:latin typeface="Arial" charset="0"/>
                        </a:endParaRP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74346">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err="1">
                            <a:ln>
                              <a:noFill/>
                            </a:ln>
                            <a:solidFill>
                              <a:schemeClr val="tx1"/>
                            </a:solidFill>
                            <a:effectLst/>
                            <a:latin typeface="Arial" charset="0"/>
                          </a:rPr>
                          <a:t>timeID</a:t>
                        </a:r>
                        <a:r>
                          <a:rPr kumimoji="0" lang="en-US" sz="1200" b="0" i="0" u="none" strike="noStrike" cap="none" normalizeH="0" baseline="0">
                            <a:ln>
                              <a:noFill/>
                            </a:ln>
                            <a:solidFill>
                              <a:schemeClr val="tx1"/>
                            </a:solidFill>
                            <a:effectLst/>
                            <a:latin typeface="Arial" charset="0"/>
                          </a:rPr>
                          <a:t> </a:t>
                        </a:r>
                        <a:r>
                          <a:rPr kumimoji="0" lang="en-US" sz="1200" b="1" i="0" u="none" strike="noStrike" cap="none" normalizeH="0" baseline="0">
                            <a:ln>
                              <a:noFill/>
                            </a:ln>
                            <a:solidFill>
                              <a:schemeClr val="tx1"/>
                            </a:solidFill>
                            <a:effectLst/>
                            <a:latin typeface="Arial" charset="0"/>
                          </a:rPr>
                          <a:t>{FK}</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74346">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propertyID </a:t>
                        </a:r>
                        <a:r>
                          <a:rPr kumimoji="0" lang="en-US" sz="1200" b="1" i="0" u="none" strike="noStrike" cap="none" normalizeH="0" baseline="0">
                            <a:ln>
                              <a:noFill/>
                            </a:ln>
                            <a:solidFill>
                              <a:schemeClr val="tx1"/>
                            </a:solidFill>
                            <a:effectLst/>
                            <a:latin typeface="Arial" charset="0"/>
                          </a:rPr>
                          <a:t>{FK}</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74346">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branchID </a:t>
                        </a:r>
                        <a:r>
                          <a:rPr kumimoji="0" lang="en-US" sz="1200" b="1" i="0" u="none" strike="noStrike" cap="none" normalizeH="0" baseline="0">
                            <a:ln>
                              <a:noFill/>
                            </a:ln>
                            <a:solidFill>
                              <a:schemeClr val="tx1"/>
                            </a:solidFill>
                            <a:effectLst/>
                            <a:latin typeface="Arial" charset="0"/>
                          </a:rPr>
                          <a:t>{FK}</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74346">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clientID</a:t>
                        </a:r>
                        <a:r>
                          <a:rPr kumimoji="0" lang="en-US" sz="1200" b="1" i="0" u="none" strike="noStrike" cap="none" normalizeH="0" baseline="0">
                            <a:ln>
                              <a:noFill/>
                            </a:ln>
                            <a:solidFill>
                              <a:schemeClr val="tx1"/>
                            </a:solidFill>
                            <a:effectLst/>
                            <a:latin typeface="Arial" charset="0"/>
                          </a:rPr>
                          <a:t> {FK}</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74346">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promotionID </a:t>
                        </a:r>
                        <a:r>
                          <a:rPr kumimoji="0" lang="en-US" sz="1200" b="1" i="0" u="none" strike="noStrike" cap="none" normalizeH="0" baseline="0">
                            <a:ln>
                              <a:noFill/>
                            </a:ln>
                            <a:solidFill>
                              <a:schemeClr val="tx1"/>
                            </a:solidFill>
                            <a:effectLst/>
                            <a:latin typeface="Arial" charset="0"/>
                          </a:rPr>
                          <a:t>{FK}</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74346">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staffID </a:t>
                        </a:r>
                        <a:r>
                          <a:rPr kumimoji="0" lang="en-US" sz="1200" b="1" i="0" u="none" strike="noStrike" cap="none" normalizeH="0" baseline="0">
                            <a:ln>
                              <a:noFill/>
                            </a:ln>
                            <a:solidFill>
                              <a:schemeClr val="tx1"/>
                            </a:solidFill>
                            <a:effectLst/>
                            <a:latin typeface="Arial" charset="0"/>
                          </a:rPr>
                          <a:t>{FK}</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74346">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ownerID </a:t>
                        </a:r>
                        <a:r>
                          <a:rPr kumimoji="0" lang="en-US" sz="1200" b="1" i="0" u="none" strike="noStrike" cap="none" normalizeH="0" baseline="0">
                            <a:ln>
                              <a:noFill/>
                            </a:ln>
                            <a:solidFill>
                              <a:schemeClr val="tx1"/>
                            </a:solidFill>
                            <a:effectLst/>
                            <a:latin typeface="Arial" charset="0"/>
                          </a:rPr>
                          <a:t>{FK}</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74346">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offerPrice</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74346">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sellingPrice</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74346">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saleCommission</a:t>
                        </a: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74346">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dirty="0" err="1">
                            <a:ln>
                              <a:noFill/>
                            </a:ln>
                            <a:solidFill>
                              <a:schemeClr val="tx1"/>
                            </a:solidFill>
                            <a:effectLst/>
                            <a:latin typeface="Arial" charset="0"/>
                          </a:rPr>
                          <a:t>saleRevenue</a:t>
                        </a:r>
                        <a:endParaRPr kumimoji="0" lang="en-US" sz="1200" b="0" i="0" u="none" strike="noStrike" cap="none" normalizeH="0" baseline="0" dirty="0">
                          <a:ln>
                            <a:noFill/>
                          </a:ln>
                          <a:solidFill>
                            <a:schemeClr val="tx1"/>
                          </a:solidFill>
                          <a:effectLst/>
                          <a:latin typeface="Arial" charset="0"/>
                        </a:endParaRPr>
                      </a:p>
                    </a:txBody>
                    <a:tcPr marT="45724" marB="45724"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bl>
            </a:graphicData>
          </a:graphic>
        </p:graphicFrame>
        <p:graphicFrame>
          <p:nvGraphicFramePr>
            <p:cNvPr id="33" name="Group 79"/>
            <p:cNvGraphicFramePr>
              <a:graphicFrameLocks/>
            </p:cNvGraphicFramePr>
            <p:nvPr>
              <p:extLst>
                <p:ext uri="{D42A27DB-BD31-4B8C-83A1-F6EECF244321}">
                  <p14:modId xmlns:p14="http://schemas.microsoft.com/office/powerpoint/2010/main" val="103227359"/>
                </p:ext>
              </p:extLst>
            </p:nvPr>
          </p:nvGraphicFramePr>
          <p:xfrm>
            <a:off x="750888" y="1489719"/>
            <a:ext cx="1847122" cy="2421195"/>
          </p:xfrm>
          <a:graphic>
            <a:graphicData uri="http://schemas.openxmlformats.org/drawingml/2006/table">
              <a:tbl>
                <a:tblPr/>
                <a:tblGrid>
                  <a:gridCol w="1666875">
                    <a:extLst>
                      <a:ext uri="{9D8B030D-6E8A-4147-A177-3AD203B41FA5}">
                        <a16:colId xmlns:a16="http://schemas.microsoft.com/office/drawing/2014/main" val="20000"/>
                      </a:ext>
                    </a:extLst>
                  </a:gridCol>
                </a:tblGrid>
                <a:tr h="237772">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Tx/>
                          <a:buNone/>
                          <a:tabLst/>
                        </a:pPr>
                        <a:r>
                          <a:rPr kumimoji="0" lang="en-US" sz="1400" b="1" i="0" u="none" strike="noStrike" cap="none" normalizeH="0" baseline="0" err="1">
                            <a:ln>
                              <a:noFill/>
                            </a:ln>
                            <a:solidFill>
                              <a:srgbClr val="92D050"/>
                            </a:solidFill>
                            <a:effectLst/>
                            <a:latin typeface="Arial" charset="0"/>
                          </a:rPr>
                          <a:t>Branch_Dim</a:t>
                        </a:r>
                        <a:endParaRPr kumimoji="0" lang="en-US" sz="1400" b="1" i="0" u="none" strike="noStrike" cap="none" normalizeH="0" baseline="0">
                          <a:ln>
                            <a:noFill/>
                          </a:ln>
                          <a:solidFill>
                            <a:srgbClr val="92D050"/>
                          </a:solidFill>
                          <a:effectLst/>
                          <a:latin typeface="Arial" charset="0"/>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508000">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r>
                          <a:rPr kumimoji="0" lang="en-US" sz="1200" b="0" i="0" u="none" strike="noStrike" cap="none" normalizeH="0" baseline="0" err="1">
                            <a:ln>
                              <a:noFill/>
                            </a:ln>
                            <a:solidFill>
                              <a:schemeClr val="tx1"/>
                            </a:solidFill>
                            <a:effectLst/>
                            <a:latin typeface="Arial" charset="0"/>
                          </a:rPr>
                          <a:t>branchID</a:t>
                        </a:r>
                        <a:r>
                          <a:rPr kumimoji="0" lang="en-US" sz="1200" b="0" i="0" u="none" strike="noStrike" cap="none" normalizeH="0" baseline="0">
                            <a:ln>
                              <a:noFill/>
                            </a:ln>
                            <a:solidFill>
                              <a:schemeClr val="tx1"/>
                            </a:solidFill>
                            <a:effectLst/>
                            <a:latin typeface="Arial" charset="0"/>
                          </a:rPr>
                          <a:t> </a:t>
                        </a:r>
                        <a:r>
                          <a:rPr kumimoji="0" lang="en-US" sz="1200" b="1" i="0" u="none" strike="noStrike" cap="none" normalizeH="0" baseline="0">
                            <a:ln>
                              <a:noFill/>
                            </a:ln>
                            <a:solidFill>
                              <a:schemeClr val="tx1"/>
                            </a:solidFill>
                            <a:effectLst/>
                            <a:latin typeface="Arial" charset="0"/>
                          </a:rPr>
                          <a:t>{PK}</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508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branchNo</a:t>
                        </a:r>
                        <a:endParaRPr kumimoji="0" lang="en-US" sz="1200" b="1" i="0" u="none" strike="noStrike" cap="none" normalizeH="0" baseline="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508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branchTyp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49250">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r>
                          <a:rPr kumimoji="0" lang="en-US" sz="1200" b="0" i="0" u="none" strike="noStrike" cap="none" normalizeH="0" baseline="0" dirty="0">
                            <a:ln>
                              <a:noFill/>
                            </a:ln>
                            <a:solidFill>
                              <a:schemeClr val="tx1"/>
                            </a:solidFill>
                            <a:effectLst/>
                            <a:latin typeface="Arial" charset="0"/>
                          </a:rPr>
                          <a:t>city </a:t>
                        </a:r>
                        <a:r>
                          <a:rPr kumimoji="0" lang="en-US" sz="1200" b="1" i="0" u="none" strike="noStrike" cap="none" normalizeH="0" baseline="0" dirty="0">
                            <a:ln>
                              <a:noFill/>
                            </a:ln>
                            <a:solidFill>
                              <a:schemeClr val="tx1"/>
                            </a:solidFill>
                            <a:effectLst/>
                            <a:latin typeface="Arial" charset="0"/>
                          </a:rPr>
                          <a:t>{FK}</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34" name="Group 45"/>
            <p:cNvGraphicFramePr>
              <a:graphicFrameLocks/>
            </p:cNvGraphicFramePr>
            <p:nvPr>
              <p:extLst>
                <p:ext uri="{D42A27DB-BD31-4B8C-83A1-F6EECF244321}">
                  <p14:modId xmlns:p14="http://schemas.microsoft.com/office/powerpoint/2010/main" val="2161809880"/>
                </p:ext>
              </p:extLst>
            </p:nvPr>
          </p:nvGraphicFramePr>
          <p:xfrm>
            <a:off x="761402" y="4241123"/>
            <a:ext cx="1847122" cy="1245657"/>
          </p:xfrm>
          <a:graphic>
            <a:graphicData uri="http://schemas.openxmlformats.org/drawingml/2006/table">
              <a:tbl>
                <a:tblPr/>
                <a:tblGrid>
                  <a:gridCol w="1666875">
                    <a:extLst>
                      <a:ext uri="{9D8B030D-6E8A-4147-A177-3AD203B41FA5}">
                        <a16:colId xmlns:a16="http://schemas.microsoft.com/office/drawing/2014/main" val="20000"/>
                      </a:ext>
                    </a:extLst>
                  </a:gridCol>
                </a:tblGrid>
                <a:tr h="0">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Tx/>
                          <a:buNone/>
                          <a:tabLst/>
                        </a:pPr>
                        <a:r>
                          <a:rPr kumimoji="0" lang="en-US" sz="1400" b="1" i="0" u="none" strike="noStrike" cap="none" normalizeH="0" baseline="0">
                            <a:ln>
                              <a:noFill/>
                            </a:ln>
                            <a:solidFill>
                              <a:srgbClr val="92D050"/>
                            </a:solidFill>
                            <a:effectLst/>
                            <a:latin typeface="Arial" charset="0"/>
                          </a:rPr>
                          <a:t>City</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27025">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city </a:t>
                        </a:r>
                        <a:r>
                          <a:rPr kumimoji="0" lang="en-US" sz="1200" b="1" i="0" u="none" strike="noStrike" cap="none" normalizeH="0" baseline="0">
                            <a:ln>
                              <a:noFill/>
                            </a:ln>
                            <a:solidFill>
                              <a:schemeClr val="tx1"/>
                            </a:solidFill>
                            <a:effectLst/>
                            <a:latin typeface="Arial" charset="0"/>
                          </a:rPr>
                          <a:t>{PK}</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7025">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r>
                          <a:rPr kumimoji="0" lang="en-US" sz="1200" b="0" i="0" u="none" strike="noStrike" cap="none" normalizeH="0" baseline="0" dirty="0">
                            <a:ln>
                              <a:noFill/>
                            </a:ln>
                            <a:solidFill>
                              <a:schemeClr val="tx1"/>
                            </a:solidFill>
                            <a:effectLst/>
                            <a:latin typeface="Arial" charset="0"/>
                          </a:rPr>
                          <a:t>region </a:t>
                        </a:r>
                        <a:r>
                          <a:rPr kumimoji="0" lang="en-US" sz="1200" b="1" i="0" u="none" strike="noStrike" cap="none" normalizeH="0" baseline="0" dirty="0">
                            <a:ln>
                              <a:noFill/>
                            </a:ln>
                            <a:solidFill>
                              <a:schemeClr val="tx1"/>
                            </a:solidFill>
                            <a:effectLst/>
                            <a:latin typeface="Arial" charset="0"/>
                          </a:rPr>
                          <a:t>{FK}</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35" name="Group 77"/>
            <p:cNvGraphicFramePr>
              <a:graphicFrameLocks/>
            </p:cNvGraphicFramePr>
            <p:nvPr>
              <p:extLst>
                <p:ext uri="{D42A27DB-BD31-4B8C-83A1-F6EECF244321}">
                  <p14:modId xmlns:p14="http://schemas.microsoft.com/office/powerpoint/2010/main" val="3824516227"/>
                </p:ext>
              </p:extLst>
            </p:nvPr>
          </p:nvGraphicFramePr>
          <p:xfrm>
            <a:off x="786070" y="6119025"/>
            <a:ext cx="1776756" cy="1183211"/>
          </p:xfrm>
          <a:graphic>
            <a:graphicData uri="http://schemas.openxmlformats.org/drawingml/2006/table">
              <a:tbl>
                <a:tblPr/>
                <a:tblGrid>
                  <a:gridCol w="1603375">
                    <a:extLst>
                      <a:ext uri="{9D8B030D-6E8A-4147-A177-3AD203B41FA5}">
                        <a16:colId xmlns:a16="http://schemas.microsoft.com/office/drawing/2014/main" val="20000"/>
                      </a:ext>
                    </a:extLst>
                  </a:gridCol>
                </a:tblGrid>
                <a:tr h="0">
                  <a:tc>
                    <a:txBody>
                      <a:bodyPr/>
                      <a:lstStyle/>
                      <a:p>
                        <a:pPr marL="0" marR="0" lvl="0" indent="0" algn="ctr" defTabSz="914400" rtl="0" eaLnBrk="0" fontAlgn="base" latinLnBrk="0" hangingPunct="0">
                          <a:lnSpc>
                            <a:spcPct val="100000"/>
                          </a:lnSpc>
                          <a:spcBef>
                            <a:spcPct val="0"/>
                          </a:spcBef>
                          <a:spcAft>
                            <a:spcPct val="0"/>
                          </a:spcAft>
                          <a:buClr>
                            <a:schemeClr val="tx1"/>
                          </a:buClr>
                          <a:buSzTx/>
                          <a:buFontTx/>
                          <a:buNone/>
                          <a:tabLst/>
                        </a:pPr>
                        <a:r>
                          <a:rPr kumimoji="0" lang="en-US" sz="1400" b="1" i="0" u="none" strike="noStrike" cap="none" normalizeH="0" baseline="0">
                            <a:ln>
                              <a:noFill/>
                            </a:ln>
                            <a:solidFill>
                              <a:srgbClr val="92D050"/>
                            </a:solidFill>
                            <a:effectLst/>
                            <a:latin typeface="Arial" charset="0"/>
                          </a:rPr>
                          <a:t>Region</a:t>
                        </a:r>
                      </a:p>
                    </a:txBody>
                    <a:tcPr marT="45691" marB="45691"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03020">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a:ln>
                              <a:noFill/>
                            </a:ln>
                            <a:solidFill>
                              <a:schemeClr val="tx1"/>
                            </a:solidFill>
                            <a:effectLst/>
                            <a:latin typeface="Arial" charset="0"/>
                          </a:rPr>
                          <a:t>region </a:t>
                        </a:r>
                        <a:r>
                          <a:rPr kumimoji="0" lang="en-US" sz="1200" b="1" i="0" u="none" strike="noStrike" cap="none" normalizeH="0" baseline="0">
                            <a:ln>
                              <a:noFill/>
                            </a:ln>
                            <a:solidFill>
                              <a:schemeClr val="tx1"/>
                            </a:solidFill>
                            <a:effectLst/>
                            <a:latin typeface="Arial" charset="0"/>
                          </a:rPr>
                          <a:t>{PK}</a:t>
                        </a:r>
                      </a:p>
                    </a:txBody>
                    <a:tcPr marT="45691" marB="45691"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03020">
                  <a:tc>
                    <a:txBody>
                      <a:bodyPr/>
                      <a:lstStyle/>
                      <a:p>
                        <a:pPr marL="0" marR="0" lvl="0" indent="0" algn="l" defTabSz="914400" rtl="0" eaLnBrk="0" fontAlgn="base" latinLnBrk="0" hangingPunct="0">
                          <a:lnSpc>
                            <a:spcPct val="100000"/>
                          </a:lnSpc>
                          <a:spcBef>
                            <a:spcPct val="0"/>
                          </a:spcBef>
                          <a:spcAft>
                            <a:spcPct val="0"/>
                          </a:spcAft>
                          <a:buClr>
                            <a:schemeClr val="tx1"/>
                          </a:buClr>
                          <a:buSzTx/>
                          <a:buFontTx/>
                          <a:buNone/>
                          <a:tabLst/>
                        </a:pPr>
                        <a:r>
                          <a:rPr kumimoji="0" lang="en-US" sz="1200" b="0" i="0" u="none" strike="noStrike" cap="none" normalizeH="0" baseline="0" dirty="0">
                            <a:ln>
                              <a:noFill/>
                            </a:ln>
                            <a:solidFill>
                              <a:schemeClr val="tx1"/>
                            </a:solidFill>
                            <a:effectLst/>
                            <a:latin typeface="Arial" charset="0"/>
                          </a:rPr>
                          <a:t>country</a:t>
                        </a:r>
                        <a:endParaRPr kumimoji="0" lang="en-US" sz="1200" b="1" i="0" u="none" strike="noStrike" cap="none" normalizeH="0" baseline="0" dirty="0">
                          <a:ln>
                            <a:noFill/>
                          </a:ln>
                          <a:solidFill>
                            <a:schemeClr val="tx1"/>
                          </a:solidFill>
                          <a:effectLst/>
                          <a:latin typeface="Arial" charset="0"/>
                        </a:endParaRPr>
                      </a:p>
                    </a:txBody>
                    <a:tcPr marT="45691" marB="45691"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pSp>
          <p:nvGrpSpPr>
            <p:cNvPr id="36" name="Group 70"/>
            <p:cNvGrpSpPr>
              <a:grpSpLocks/>
            </p:cNvGrpSpPr>
            <p:nvPr/>
          </p:nvGrpSpPr>
          <p:grpSpPr bwMode="auto">
            <a:xfrm>
              <a:off x="6576789" y="5923557"/>
              <a:ext cx="2089278" cy="1276350"/>
              <a:chOff x="4977" y="4182"/>
              <a:chExt cx="1130" cy="576"/>
            </a:xfrm>
          </p:grpSpPr>
          <p:sp>
            <p:nvSpPr>
              <p:cNvPr id="37" name="Rectangle 72"/>
              <p:cNvSpPr>
                <a:spLocks noChangeArrowheads="1"/>
              </p:cNvSpPr>
              <p:nvPr/>
            </p:nvSpPr>
            <p:spPr bwMode="auto">
              <a:xfrm>
                <a:off x="5126" y="4470"/>
                <a:ext cx="144" cy="96"/>
              </a:xfrm>
              <a:prstGeom prst="rect">
                <a:avLst/>
              </a:prstGeom>
              <a:solidFill>
                <a:srgbClr val="92D050"/>
              </a:solidFill>
              <a:ln w="9525" algn="ctr">
                <a:solidFill>
                  <a:schemeClr val="tx1"/>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eaLnBrk="1" hangingPunct="1"/>
                <a:endParaRPr lang="en-US" altLang="en-US" sz="1350" b="0">
                  <a:solidFill>
                    <a:srgbClr val="FF9933"/>
                  </a:solidFill>
                  <a:latin typeface="Garamond" panose="02020404030301010803" pitchFamily="18" charset="0"/>
                </a:endParaRPr>
              </a:p>
            </p:txBody>
          </p:sp>
          <p:sp>
            <p:nvSpPr>
              <p:cNvPr id="38" name="Rectangle 73"/>
              <p:cNvSpPr>
                <a:spLocks noChangeArrowheads="1"/>
              </p:cNvSpPr>
              <p:nvPr/>
            </p:nvSpPr>
            <p:spPr bwMode="auto">
              <a:xfrm>
                <a:off x="5102" y="4225"/>
                <a:ext cx="187" cy="134"/>
              </a:xfrm>
              <a:prstGeom prst="rect">
                <a:avLst/>
              </a:prstGeom>
              <a:solidFill>
                <a:srgbClr val="00B0F0"/>
              </a:solidFill>
              <a:ln w="9525" algn="ctr">
                <a:solidFill>
                  <a:srgbClr val="0000FF"/>
                </a:solidFill>
                <a:miter lim="800000"/>
                <a:headEnd/>
                <a:tailEnd/>
              </a:ln>
            </p:spPr>
            <p:txBody>
              <a:bodyPr wrap="none" anchor="ct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eaLnBrk="1" hangingPunct="1">
                  <a:defRPr/>
                </a:pPr>
                <a:endParaRPr lang="en-US" altLang="en-US" sz="1350" b="0">
                  <a:solidFill>
                    <a:schemeClr val="accent3">
                      <a:lumMod val="60000"/>
                      <a:lumOff val="40000"/>
                    </a:schemeClr>
                  </a:solidFill>
                  <a:latin typeface="Garamond" panose="02020404030301010803" pitchFamily="18" charset="0"/>
                </a:endParaRPr>
              </a:p>
            </p:txBody>
          </p:sp>
          <p:sp>
            <p:nvSpPr>
              <p:cNvPr id="39" name="Text Box 74"/>
              <p:cNvSpPr txBox="1">
                <a:spLocks noChangeArrowheads="1"/>
              </p:cNvSpPr>
              <p:nvPr/>
            </p:nvSpPr>
            <p:spPr bwMode="auto">
              <a:xfrm>
                <a:off x="5289" y="4209"/>
                <a:ext cx="768" cy="167"/>
              </a:xfrm>
              <a:prstGeom prst="rect">
                <a:avLst/>
              </a:prstGeom>
              <a:solidFill>
                <a:schemeClr val="bg1"/>
              </a:solidFill>
              <a:ln w="9525" algn="ctr">
                <a:solidFill>
                  <a:schemeClr val="bg1"/>
                </a:solidFill>
                <a:miter lim="800000"/>
                <a:headEnd/>
                <a:tailEnd/>
              </a:ln>
            </p:spPr>
            <p:txBody>
              <a:bodyPr>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eaLnBrk="1" hangingPunct="1"/>
                <a:r>
                  <a:rPr lang="en-US" altLang="en-US" sz="1200" dirty="0">
                    <a:solidFill>
                      <a:srgbClr val="00B0F0"/>
                    </a:solidFill>
                    <a:latin typeface="Garamond" panose="02020404030301010803" pitchFamily="18" charset="0"/>
                  </a:rPr>
                  <a:t>Fact Table</a:t>
                </a:r>
              </a:p>
            </p:txBody>
          </p:sp>
          <p:sp>
            <p:nvSpPr>
              <p:cNvPr id="40" name="Text Box 75"/>
              <p:cNvSpPr txBox="1">
                <a:spLocks noChangeArrowheads="1"/>
              </p:cNvSpPr>
              <p:nvPr/>
            </p:nvSpPr>
            <p:spPr bwMode="auto">
              <a:xfrm>
                <a:off x="5308" y="4427"/>
                <a:ext cx="799" cy="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eaLnBrk="1" hangingPunct="1"/>
                <a:r>
                  <a:rPr lang="en-US" altLang="en-US" sz="1200" dirty="0">
                    <a:solidFill>
                      <a:srgbClr val="92D050"/>
                    </a:solidFill>
                    <a:latin typeface="Garamond" panose="02020404030301010803" pitchFamily="18" charset="0"/>
                  </a:rPr>
                  <a:t>Dimension</a:t>
                </a:r>
                <a:r>
                  <a:rPr lang="en-US" altLang="en-US" sz="1200" dirty="0">
                    <a:solidFill>
                      <a:srgbClr val="FF9933"/>
                    </a:solidFill>
                    <a:latin typeface="Garamond" panose="02020404030301010803" pitchFamily="18" charset="0"/>
                  </a:rPr>
                  <a:t> </a:t>
                </a:r>
                <a:r>
                  <a:rPr lang="en-US" altLang="en-US" sz="1200" dirty="0">
                    <a:solidFill>
                      <a:srgbClr val="92D050"/>
                    </a:solidFill>
                    <a:latin typeface="Garamond" panose="02020404030301010803" pitchFamily="18" charset="0"/>
                  </a:rPr>
                  <a:t>Tables</a:t>
                </a:r>
              </a:p>
            </p:txBody>
          </p:sp>
          <p:sp>
            <p:nvSpPr>
              <p:cNvPr id="41" name="Rectangle 76"/>
              <p:cNvSpPr>
                <a:spLocks noChangeArrowheads="1"/>
              </p:cNvSpPr>
              <p:nvPr/>
            </p:nvSpPr>
            <p:spPr bwMode="auto">
              <a:xfrm>
                <a:off x="4977" y="4182"/>
                <a:ext cx="1056" cy="576"/>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grpSp>
        <p:cxnSp>
          <p:nvCxnSpPr>
            <p:cNvPr id="42" name="Straight Arrow Connector 41"/>
            <p:cNvCxnSpPr>
              <a:stCxn id="35" idx="0"/>
              <a:endCxn id="34" idx="2"/>
            </p:cNvCxnSpPr>
            <p:nvPr/>
          </p:nvCxnSpPr>
          <p:spPr>
            <a:xfrm flipV="1">
              <a:off x="1674447" y="5486780"/>
              <a:ext cx="10515" cy="63224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34" idx="0"/>
              <a:endCxn id="33" idx="2"/>
            </p:cNvCxnSpPr>
            <p:nvPr/>
          </p:nvCxnSpPr>
          <p:spPr>
            <a:xfrm flipH="1" flipV="1">
              <a:off x="1674449" y="3910914"/>
              <a:ext cx="10514" cy="33020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417763" y="1905000"/>
              <a:ext cx="3373437" cy="1524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pic>
        <p:nvPicPr>
          <p:cNvPr id="18" name="DeloitteW">
            <a:extLst>
              <a:ext uri="{FF2B5EF4-FFF2-40B4-BE49-F238E27FC236}">
                <a16:creationId xmlns:a16="http://schemas.microsoft.com/office/drawing/2014/main" id="{52CA58F3-5641-4B56-B033-8965B7DD9E60}"/>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315200" y="6268595"/>
            <a:ext cx="1591952" cy="373635"/>
          </a:xfrm>
          <a:prstGeom prst="rect">
            <a:avLst/>
          </a:prstGeom>
        </p:spPr>
      </p:pic>
    </p:spTree>
    <p:extLst>
      <p:ext uri="{BB962C8B-B14F-4D97-AF65-F5344CB8AC3E}">
        <p14:creationId xmlns:p14="http://schemas.microsoft.com/office/powerpoint/2010/main" val="37997259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08687" y="482654"/>
            <a:ext cx="8439150" cy="1263796"/>
          </a:xfrm>
        </p:spPr>
        <p:txBody>
          <a:bodyPr/>
          <a:lstStyle/>
          <a:p>
            <a:r>
              <a:rPr lang="en-US" sz="2800" b="1" dirty="0">
                <a:solidFill>
                  <a:schemeClr val="tx1"/>
                </a:solidFill>
              </a:rPr>
              <a:t>Galaxy Schema</a:t>
            </a:r>
          </a:p>
          <a:p>
            <a:pPr marL="342900" indent="-342900">
              <a:buClr>
                <a:srgbClr val="92D050"/>
              </a:buClr>
              <a:buFont typeface="Wingdings" panose="05000000000000000000" pitchFamily="2" charset="2"/>
              <a:buChar char="Ø"/>
            </a:pPr>
            <a:r>
              <a:rPr lang="en-US" sz="1900" dirty="0">
                <a:solidFill>
                  <a:schemeClr val="tx1"/>
                </a:solidFill>
                <a:latin typeface="Arial" panose="020B0604020202020204" pitchFamily="34" charset="0"/>
                <a:cs typeface="Arial" panose="020B0604020202020204" pitchFamily="34" charset="0"/>
              </a:rPr>
              <a:t>A Galaxy Schema contains two fact table that share dimension tables between them. It is also called Fact Constellation Schema. </a:t>
            </a:r>
          </a:p>
          <a:p>
            <a:pPr marL="342900" indent="-342900">
              <a:buClr>
                <a:srgbClr val="92D050"/>
              </a:buClr>
              <a:buFont typeface="Wingdings" panose="05000000000000000000" pitchFamily="2" charset="2"/>
              <a:buChar char="Ø"/>
            </a:pPr>
            <a:r>
              <a:rPr lang="en-US" sz="1900" dirty="0">
                <a:solidFill>
                  <a:schemeClr val="tx1"/>
                </a:solidFill>
                <a:latin typeface="Arial" panose="020B0604020202020204" pitchFamily="34" charset="0"/>
                <a:cs typeface="Arial" panose="020B0604020202020204" pitchFamily="34" charset="0"/>
              </a:rPr>
              <a:t>The design involves more than one fact table, which are connected further with multiple dimension tables that are completely normalized.</a:t>
            </a:r>
          </a:p>
        </p:txBody>
      </p:sp>
      <p:grpSp>
        <p:nvGrpSpPr>
          <p:cNvPr id="28" name="Group 27"/>
          <p:cNvGrpSpPr/>
          <p:nvPr/>
        </p:nvGrpSpPr>
        <p:grpSpPr>
          <a:xfrm>
            <a:off x="1143000" y="2603303"/>
            <a:ext cx="5943600" cy="2808439"/>
            <a:chOff x="495300" y="2536825"/>
            <a:chExt cx="8847138" cy="3646488"/>
          </a:xfrm>
        </p:grpSpPr>
        <p:sp>
          <p:nvSpPr>
            <p:cNvPr id="4" name="Rectangle 4"/>
            <p:cNvSpPr>
              <a:spLocks noChangeArrowheads="1"/>
            </p:cNvSpPr>
            <p:nvPr/>
          </p:nvSpPr>
          <p:spPr bwMode="auto">
            <a:xfrm>
              <a:off x="4292600" y="3657600"/>
              <a:ext cx="1155700" cy="457200"/>
            </a:xfrm>
            <a:prstGeom prst="rect">
              <a:avLst/>
            </a:prstGeom>
            <a:solidFill>
              <a:srgbClr val="CCECFF"/>
            </a:solidFill>
            <a:ln w="9525">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lang="en-US" altLang="en-US" sz="1800" b="0">
                  <a:latin typeface="Times New Roman" panose="02020603050405020304" pitchFamily="18" charset="0"/>
                </a:rPr>
                <a:t>Fact1</a:t>
              </a:r>
            </a:p>
          </p:txBody>
        </p:sp>
        <p:sp>
          <p:nvSpPr>
            <p:cNvPr id="5" name="Rectangle 5"/>
            <p:cNvSpPr>
              <a:spLocks noChangeArrowheads="1"/>
            </p:cNvSpPr>
            <p:nvPr/>
          </p:nvSpPr>
          <p:spPr bwMode="auto">
            <a:xfrm>
              <a:off x="2228850" y="4876800"/>
              <a:ext cx="1155700" cy="457200"/>
            </a:xfrm>
            <a:prstGeom prst="rect">
              <a:avLst/>
            </a:prstGeom>
            <a:solidFill>
              <a:srgbClr val="CCECFF"/>
            </a:solidFill>
            <a:ln w="9525">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lang="en-US" altLang="en-US" sz="1800" b="0">
                  <a:latin typeface="Times New Roman" panose="02020603050405020304" pitchFamily="18" charset="0"/>
                </a:rPr>
                <a:t>Fact2</a:t>
              </a:r>
            </a:p>
          </p:txBody>
        </p:sp>
        <p:sp>
          <p:nvSpPr>
            <p:cNvPr id="6" name="Rectangle 6"/>
            <p:cNvSpPr>
              <a:spLocks noChangeArrowheads="1"/>
            </p:cNvSpPr>
            <p:nvPr/>
          </p:nvSpPr>
          <p:spPr bwMode="auto">
            <a:xfrm>
              <a:off x="6273800" y="4876800"/>
              <a:ext cx="1155700" cy="457200"/>
            </a:xfrm>
            <a:prstGeom prst="rect">
              <a:avLst/>
            </a:prstGeom>
            <a:solidFill>
              <a:srgbClr val="CCECFF"/>
            </a:solidFill>
            <a:ln w="9525">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lang="en-US" altLang="en-US" sz="1800" b="0">
                  <a:latin typeface="Times New Roman" panose="02020603050405020304" pitchFamily="18" charset="0"/>
                </a:rPr>
                <a:t>Fact3</a:t>
              </a:r>
            </a:p>
          </p:txBody>
        </p:sp>
        <p:sp>
          <p:nvSpPr>
            <p:cNvPr id="7" name="Rectangle 7"/>
            <p:cNvSpPr>
              <a:spLocks noChangeArrowheads="1"/>
            </p:cNvSpPr>
            <p:nvPr/>
          </p:nvSpPr>
          <p:spPr bwMode="auto">
            <a:xfrm>
              <a:off x="6108700" y="3124200"/>
              <a:ext cx="1651000" cy="304800"/>
            </a:xfrm>
            <a:prstGeom prst="rect">
              <a:avLst/>
            </a:prstGeom>
            <a:solidFill>
              <a:schemeClr val="accent5"/>
            </a:solidFill>
            <a:ln w="9525">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lang="en-US" altLang="en-US" sz="1500" b="0">
                  <a:latin typeface="Times New Roman" panose="02020603050405020304" pitchFamily="18" charset="0"/>
                </a:rPr>
                <a:t>Dimension2</a:t>
              </a:r>
              <a:endParaRPr lang="en-US" altLang="en-US" sz="1800" b="0">
                <a:latin typeface="Times New Roman" panose="02020603050405020304" pitchFamily="18" charset="0"/>
              </a:endParaRPr>
            </a:p>
          </p:txBody>
        </p:sp>
        <p:sp>
          <p:nvSpPr>
            <p:cNvPr id="8" name="Rectangle 8"/>
            <p:cNvSpPr>
              <a:spLocks noChangeArrowheads="1"/>
            </p:cNvSpPr>
            <p:nvPr/>
          </p:nvSpPr>
          <p:spPr bwMode="auto">
            <a:xfrm>
              <a:off x="2146300" y="3200400"/>
              <a:ext cx="1651000" cy="304800"/>
            </a:xfrm>
            <a:prstGeom prst="rect">
              <a:avLst/>
            </a:prstGeom>
            <a:solidFill>
              <a:schemeClr val="accent5"/>
            </a:solidFill>
            <a:ln w="9525">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lang="en-US" altLang="en-US" sz="1500" b="0">
                  <a:latin typeface="Times New Roman" panose="02020603050405020304" pitchFamily="18" charset="0"/>
                </a:rPr>
                <a:t>Dimension1</a:t>
              </a:r>
              <a:endParaRPr lang="en-US" altLang="en-US" sz="1800" b="0">
                <a:latin typeface="Times New Roman" panose="02020603050405020304" pitchFamily="18" charset="0"/>
              </a:endParaRPr>
            </a:p>
          </p:txBody>
        </p:sp>
        <p:sp>
          <p:nvSpPr>
            <p:cNvPr id="9" name="Rectangle 9"/>
            <p:cNvSpPr>
              <a:spLocks noChangeArrowheads="1"/>
            </p:cNvSpPr>
            <p:nvPr/>
          </p:nvSpPr>
          <p:spPr bwMode="auto">
            <a:xfrm>
              <a:off x="7512050" y="4191000"/>
              <a:ext cx="1651000" cy="304800"/>
            </a:xfrm>
            <a:prstGeom prst="rect">
              <a:avLst/>
            </a:prstGeom>
            <a:solidFill>
              <a:schemeClr val="accent5"/>
            </a:solidFill>
            <a:ln w="9525">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lang="en-US" altLang="en-US" sz="1500" b="0">
                  <a:latin typeface="Times New Roman" panose="02020603050405020304" pitchFamily="18" charset="0"/>
                </a:rPr>
                <a:t>Dimension4</a:t>
              </a:r>
              <a:endParaRPr lang="en-US" altLang="en-US" sz="1800" b="0">
                <a:latin typeface="Times New Roman" panose="02020603050405020304" pitchFamily="18" charset="0"/>
              </a:endParaRPr>
            </a:p>
          </p:txBody>
        </p:sp>
        <p:sp>
          <p:nvSpPr>
            <p:cNvPr id="10" name="Rectangle 10"/>
            <p:cNvSpPr>
              <a:spLocks noChangeArrowheads="1"/>
            </p:cNvSpPr>
            <p:nvPr/>
          </p:nvSpPr>
          <p:spPr bwMode="auto">
            <a:xfrm>
              <a:off x="4044950" y="4876800"/>
              <a:ext cx="1651000" cy="304800"/>
            </a:xfrm>
            <a:prstGeom prst="rect">
              <a:avLst/>
            </a:prstGeom>
            <a:solidFill>
              <a:schemeClr val="accent5"/>
            </a:solidFill>
            <a:ln w="9525">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lang="en-US" altLang="en-US" sz="1500" b="0">
                  <a:latin typeface="Times New Roman" panose="02020603050405020304" pitchFamily="18" charset="0"/>
                </a:rPr>
                <a:t>Dimension5</a:t>
              </a:r>
              <a:endParaRPr lang="en-US" altLang="en-US" sz="1800" b="0">
                <a:latin typeface="Times New Roman" panose="02020603050405020304" pitchFamily="18" charset="0"/>
              </a:endParaRPr>
            </a:p>
          </p:txBody>
        </p:sp>
        <p:sp>
          <p:nvSpPr>
            <p:cNvPr id="11" name="Rectangle 11"/>
            <p:cNvSpPr>
              <a:spLocks noChangeArrowheads="1"/>
            </p:cNvSpPr>
            <p:nvPr/>
          </p:nvSpPr>
          <p:spPr bwMode="auto">
            <a:xfrm>
              <a:off x="660400" y="4267200"/>
              <a:ext cx="1651000" cy="304800"/>
            </a:xfrm>
            <a:prstGeom prst="rect">
              <a:avLst/>
            </a:prstGeom>
            <a:solidFill>
              <a:schemeClr val="accent5"/>
            </a:solidFill>
            <a:ln w="9525">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lang="en-US" altLang="en-US" sz="1500" b="0">
                  <a:latin typeface="Times New Roman" panose="02020603050405020304" pitchFamily="18" charset="0"/>
                </a:rPr>
                <a:t>Dimension3</a:t>
              </a:r>
              <a:endParaRPr lang="en-US" altLang="en-US" sz="1800" b="0">
                <a:latin typeface="Times New Roman" panose="02020603050405020304" pitchFamily="18" charset="0"/>
              </a:endParaRPr>
            </a:p>
          </p:txBody>
        </p:sp>
        <p:sp>
          <p:nvSpPr>
            <p:cNvPr id="12" name="Rectangle 12"/>
            <p:cNvSpPr>
              <a:spLocks noChangeArrowheads="1"/>
            </p:cNvSpPr>
            <p:nvPr/>
          </p:nvSpPr>
          <p:spPr bwMode="auto">
            <a:xfrm>
              <a:off x="7264400" y="5715000"/>
              <a:ext cx="1651000" cy="304800"/>
            </a:xfrm>
            <a:prstGeom prst="rect">
              <a:avLst/>
            </a:prstGeom>
            <a:solidFill>
              <a:schemeClr val="accent5"/>
            </a:solidFill>
            <a:ln w="9525">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lang="en-US" altLang="en-US" sz="1500" b="0">
                  <a:latin typeface="Times New Roman" panose="02020603050405020304" pitchFamily="18" charset="0"/>
                </a:rPr>
                <a:t>Dimension7</a:t>
              </a:r>
              <a:endParaRPr lang="en-US" altLang="en-US" sz="1800" b="0">
                <a:latin typeface="Times New Roman" panose="02020603050405020304" pitchFamily="18" charset="0"/>
              </a:endParaRPr>
            </a:p>
          </p:txBody>
        </p:sp>
        <p:sp>
          <p:nvSpPr>
            <p:cNvPr id="13" name="Rectangle 13"/>
            <p:cNvSpPr>
              <a:spLocks noChangeArrowheads="1"/>
            </p:cNvSpPr>
            <p:nvPr/>
          </p:nvSpPr>
          <p:spPr bwMode="auto">
            <a:xfrm>
              <a:off x="660400" y="5715000"/>
              <a:ext cx="1651000" cy="304800"/>
            </a:xfrm>
            <a:prstGeom prst="rect">
              <a:avLst/>
            </a:prstGeom>
            <a:solidFill>
              <a:schemeClr val="accent5"/>
            </a:solidFill>
            <a:ln w="9525">
              <a:solidFill>
                <a:srgbClr val="000000"/>
              </a:solidFill>
              <a:miter lim="800000"/>
              <a:headEnd/>
              <a:tailEnd/>
            </a:ln>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ctr"/>
              <a:r>
                <a:rPr lang="en-US" altLang="en-US" sz="1500" b="0">
                  <a:latin typeface="Times New Roman" panose="02020603050405020304" pitchFamily="18" charset="0"/>
                </a:rPr>
                <a:t>Dimension6</a:t>
              </a:r>
              <a:endParaRPr lang="en-US" altLang="en-US" sz="1800" b="0">
                <a:latin typeface="Times New Roman" panose="02020603050405020304" pitchFamily="18" charset="0"/>
              </a:endParaRPr>
            </a:p>
          </p:txBody>
        </p:sp>
        <p:sp>
          <p:nvSpPr>
            <p:cNvPr id="14" name="Line 14"/>
            <p:cNvSpPr>
              <a:spLocks noChangeShapeType="1"/>
            </p:cNvSpPr>
            <p:nvPr/>
          </p:nvSpPr>
          <p:spPr bwMode="auto">
            <a:xfrm flipH="1" flipV="1">
              <a:off x="3797300" y="3429000"/>
              <a:ext cx="577850" cy="22860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350"/>
            </a:p>
          </p:txBody>
        </p:sp>
        <p:sp>
          <p:nvSpPr>
            <p:cNvPr id="15" name="Line 15"/>
            <p:cNvSpPr>
              <a:spLocks noChangeShapeType="1"/>
            </p:cNvSpPr>
            <p:nvPr/>
          </p:nvSpPr>
          <p:spPr bwMode="auto">
            <a:xfrm flipV="1">
              <a:off x="5448300" y="3352800"/>
              <a:ext cx="660400" cy="30480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350"/>
            </a:p>
          </p:txBody>
        </p:sp>
        <p:sp>
          <p:nvSpPr>
            <p:cNvPr id="16" name="Line 16"/>
            <p:cNvSpPr>
              <a:spLocks noChangeShapeType="1"/>
            </p:cNvSpPr>
            <p:nvPr/>
          </p:nvSpPr>
          <p:spPr bwMode="auto">
            <a:xfrm>
              <a:off x="4870450" y="4114800"/>
              <a:ext cx="0" cy="76200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350"/>
            </a:p>
          </p:txBody>
        </p:sp>
        <p:sp>
          <p:nvSpPr>
            <p:cNvPr id="17" name="Line 17"/>
            <p:cNvSpPr>
              <a:spLocks noChangeShapeType="1"/>
            </p:cNvSpPr>
            <p:nvPr/>
          </p:nvSpPr>
          <p:spPr bwMode="auto">
            <a:xfrm flipH="1">
              <a:off x="2311400" y="4114800"/>
              <a:ext cx="1981200" cy="30480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350"/>
            </a:p>
          </p:txBody>
        </p:sp>
        <p:sp>
          <p:nvSpPr>
            <p:cNvPr id="18" name="Line 18"/>
            <p:cNvSpPr>
              <a:spLocks noChangeShapeType="1"/>
            </p:cNvSpPr>
            <p:nvPr/>
          </p:nvSpPr>
          <p:spPr bwMode="auto">
            <a:xfrm>
              <a:off x="5448300" y="4114800"/>
              <a:ext cx="2063750" cy="30480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350"/>
            </a:p>
          </p:txBody>
        </p:sp>
        <p:sp>
          <p:nvSpPr>
            <p:cNvPr id="19" name="Line 19"/>
            <p:cNvSpPr>
              <a:spLocks noChangeShapeType="1"/>
            </p:cNvSpPr>
            <p:nvPr/>
          </p:nvSpPr>
          <p:spPr bwMode="auto">
            <a:xfrm>
              <a:off x="3384550" y="5105400"/>
              <a:ext cx="660400" cy="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350"/>
            </a:p>
          </p:txBody>
        </p:sp>
        <p:sp>
          <p:nvSpPr>
            <p:cNvPr id="20" name="Line 20"/>
            <p:cNvSpPr>
              <a:spLocks noChangeShapeType="1"/>
            </p:cNvSpPr>
            <p:nvPr/>
          </p:nvSpPr>
          <p:spPr bwMode="auto">
            <a:xfrm flipH="1" flipV="1">
              <a:off x="1898650" y="4572000"/>
              <a:ext cx="330200" cy="30480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350"/>
            </a:p>
          </p:txBody>
        </p:sp>
        <p:sp>
          <p:nvSpPr>
            <p:cNvPr id="21" name="Line 21"/>
            <p:cNvSpPr>
              <a:spLocks noChangeShapeType="1"/>
            </p:cNvSpPr>
            <p:nvPr/>
          </p:nvSpPr>
          <p:spPr bwMode="auto">
            <a:xfrm flipH="1">
              <a:off x="1733550" y="5334000"/>
              <a:ext cx="495300" cy="38100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350"/>
            </a:p>
          </p:txBody>
        </p:sp>
        <p:sp>
          <p:nvSpPr>
            <p:cNvPr id="22" name="Line 22"/>
            <p:cNvSpPr>
              <a:spLocks noChangeShapeType="1"/>
            </p:cNvSpPr>
            <p:nvPr/>
          </p:nvSpPr>
          <p:spPr bwMode="auto">
            <a:xfrm flipH="1">
              <a:off x="5695950" y="5105400"/>
              <a:ext cx="577850" cy="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350"/>
            </a:p>
          </p:txBody>
        </p:sp>
        <p:sp>
          <p:nvSpPr>
            <p:cNvPr id="23" name="Line 23"/>
            <p:cNvSpPr>
              <a:spLocks noChangeShapeType="1"/>
            </p:cNvSpPr>
            <p:nvPr/>
          </p:nvSpPr>
          <p:spPr bwMode="auto">
            <a:xfrm flipV="1">
              <a:off x="7429500" y="4495800"/>
              <a:ext cx="495300" cy="38100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350"/>
            </a:p>
          </p:txBody>
        </p:sp>
        <p:sp>
          <p:nvSpPr>
            <p:cNvPr id="24" name="Line 24"/>
            <p:cNvSpPr>
              <a:spLocks noChangeShapeType="1"/>
            </p:cNvSpPr>
            <p:nvPr/>
          </p:nvSpPr>
          <p:spPr bwMode="auto">
            <a:xfrm>
              <a:off x="7429500" y="5334000"/>
              <a:ext cx="495300" cy="38100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350"/>
            </a:p>
          </p:txBody>
        </p:sp>
        <p:sp>
          <p:nvSpPr>
            <p:cNvPr id="25" name="Oval 25"/>
            <p:cNvSpPr>
              <a:spLocks noChangeArrowheads="1"/>
            </p:cNvSpPr>
            <p:nvPr/>
          </p:nvSpPr>
          <p:spPr bwMode="auto">
            <a:xfrm>
              <a:off x="495300" y="4267200"/>
              <a:ext cx="4375150" cy="1905000"/>
            </a:xfrm>
            <a:prstGeom prst="ellipse">
              <a:avLst/>
            </a:prstGeom>
            <a:noFill/>
            <a:ln w="38100">
              <a:solidFill>
                <a:srgbClr val="92D05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26" name="Oval 26"/>
            <p:cNvSpPr>
              <a:spLocks noChangeArrowheads="1"/>
            </p:cNvSpPr>
            <p:nvPr/>
          </p:nvSpPr>
          <p:spPr bwMode="auto">
            <a:xfrm>
              <a:off x="592138" y="2536825"/>
              <a:ext cx="8750300" cy="1905000"/>
            </a:xfrm>
            <a:prstGeom prst="ellipse">
              <a:avLst/>
            </a:prstGeom>
            <a:noFill/>
            <a:ln w="38100">
              <a:solidFill>
                <a:srgbClr val="92D05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sp>
          <p:nvSpPr>
            <p:cNvPr id="27" name="Oval 27"/>
            <p:cNvSpPr>
              <a:spLocks noChangeArrowheads="1"/>
            </p:cNvSpPr>
            <p:nvPr/>
          </p:nvSpPr>
          <p:spPr bwMode="auto">
            <a:xfrm>
              <a:off x="4878388" y="4278313"/>
              <a:ext cx="4375150" cy="1905000"/>
            </a:xfrm>
            <a:prstGeom prst="ellipse">
              <a:avLst/>
            </a:prstGeom>
            <a:noFill/>
            <a:ln w="38100">
              <a:solidFill>
                <a:srgbClr val="92D05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eaLnBrk="1" hangingPunct="1"/>
              <a:endParaRPr lang="en-IN" altLang="en-US" sz="2100"/>
            </a:p>
          </p:txBody>
        </p:sp>
      </p:grpSp>
      <p:pic>
        <p:nvPicPr>
          <p:cNvPr id="29" name="DeloitteW">
            <a:extLst>
              <a:ext uri="{FF2B5EF4-FFF2-40B4-BE49-F238E27FC236}">
                <a16:creationId xmlns:a16="http://schemas.microsoft.com/office/drawing/2014/main" id="{2E80204D-24D7-4D3B-84C0-7F45C78D694C}"/>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315200" y="6268595"/>
            <a:ext cx="1591952" cy="373635"/>
          </a:xfrm>
          <a:prstGeom prst="rect">
            <a:avLst/>
          </a:prstGeom>
        </p:spPr>
      </p:pic>
    </p:spTree>
    <p:extLst>
      <p:ext uri="{BB962C8B-B14F-4D97-AF65-F5344CB8AC3E}">
        <p14:creationId xmlns:p14="http://schemas.microsoft.com/office/powerpoint/2010/main" val="91991233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67635" y="184667"/>
            <a:ext cx="8411852" cy="595313"/>
          </a:xfrm>
        </p:spPr>
        <p:txBody>
          <a:bodyPr/>
          <a:lstStyle/>
          <a:p>
            <a:r>
              <a:rPr lang="en-US" sz="2800" b="1" dirty="0"/>
              <a:t>Facts</a:t>
            </a:r>
          </a:p>
        </p:txBody>
      </p:sp>
      <p:sp>
        <p:nvSpPr>
          <p:cNvPr id="6" name="Content Placeholder 2">
            <a:extLst>
              <a:ext uri="{FF2B5EF4-FFF2-40B4-BE49-F238E27FC236}">
                <a16:creationId xmlns:a16="http://schemas.microsoft.com/office/drawing/2014/main" id="{6D81A1E5-C815-4B9A-A9E1-D7E3CB9389A2}"/>
              </a:ext>
            </a:extLst>
          </p:cNvPr>
          <p:cNvSpPr>
            <a:spLocks noGrp="1"/>
          </p:cNvSpPr>
          <p:nvPr>
            <p:ph idx="1"/>
          </p:nvPr>
        </p:nvSpPr>
        <p:spPr>
          <a:xfrm>
            <a:off x="167635" y="815785"/>
            <a:ext cx="8411852" cy="6296635"/>
          </a:xfrm>
        </p:spPr>
        <p:txBody>
          <a:bodyPr>
            <a:noAutofit/>
          </a:bodyPr>
          <a:lstStyle/>
          <a:p>
            <a:pPr marL="285750" indent="-285750" eaLnBrk="1" hangingPunct="1">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Numeric measurements (values) that represent a specific business aspect or activity</a:t>
            </a:r>
          </a:p>
          <a:p>
            <a:pPr marL="285750" indent="-285750" eaLnBrk="1" hangingPunct="1">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Stored in a fact table at the center of the star scheme</a:t>
            </a:r>
          </a:p>
          <a:p>
            <a:pPr marL="285750" indent="-285750" eaLnBrk="1" hangingPunct="1">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Contains facts that are linked through their dimensions</a:t>
            </a:r>
          </a:p>
          <a:p>
            <a:pPr marL="285750" indent="-285750" eaLnBrk="1" hangingPunct="1">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Can be computed or derived at run time</a:t>
            </a:r>
          </a:p>
          <a:p>
            <a:pPr marL="285750" indent="-285750" eaLnBrk="1" hangingPunct="1">
              <a:buClr>
                <a:srgbClr val="92D050"/>
              </a:buClr>
              <a:buFont typeface="Wingdings" panose="05000000000000000000" pitchFamily="2" charset="2"/>
              <a:buChar char="§"/>
              <a:defRPr/>
            </a:pPr>
            <a:r>
              <a:rPr lang="en-US" sz="1800" dirty="0">
                <a:latin typeface="Arial" panose="020B0604020202020204" pitchFamily="34" charset="0"/>
                <a:cs typeface="Arial" panose="020B0604020202020204" pitchFamily="34" charset="0"/>
              </a:rPr>
              <a:t>Updated periodically with data from operational databases</a:t>
            </a:r>
          </a:p>
          <a:p>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093451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52425" y="343361"/>
            <a:ext cx="8439150" cy="757255"/>
          </a:xfrm>
        </p:spPr>
        <p:txBody>
          <a:bodyPr/>
          <a:lstStyle/>
          <a:p>
            <a:r>
              <a:rPr lang="en-US" sz="2800" b="1" dirty="0">
                <a:solidFill>
                  <a:schemeClr val="tx1"/>
                </a:solidFill>
              </a:rPr>
              <a:t>Fact Types</a:t>
            </a:r>
          </a:p>
        </p:txBody>
      </p:sp>
      <p:sp>
        <p:nvSpPr>
          <p:cNvPr id="5" name="Text Box 3"/>
          <p:cNvSpPr txBox="1">
            <a:spLocks noChangeArrowheads="1"/>
          </p:cNvSpPr>
          <p:nvPr/>
        </p:nvSpPr>
        <p:spPr bwMode="auto">
          <a:xfrm>
            <a:off x="352425" y="1371600"/>
            <a:ext cx="8447744" cy="4385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gn="just" eaLnBrk="1" hangingPunct="1">
              <a:defRPr/>
            </a:pPr>
            <a:r>
              <a:rPr lang="en-US" altLang="en-US" sz="2000" b="0" u="sng" dirty="0">
                <a:solidFill>
                  <a:srgbClr val="92D050"/>
                </a:solidFill>
                <a:cs typeface="Arial" panose="020B0604020202020204" pitchFamily="34" charset="0"/>
              </a:rPr>
              <a:t>Additive facts:</a:t>
            </a:r>
          </a:p>
          <a:p>
            <a:pPr algn="just" eaLnBrk="1" hangingPunct="1">
              <a:defRPr/>
            </a:pPr>
            <a:endParaRPr lang="en-US" altLang="en-US" sz="1200" u="sng" dirty="0">
              <a:latin typeface="+mn-lt"/>
            </a:endParaRPr>
          </a:p>
          <a:p>
            <a:pPr marL="323850" lvl="2" indent="-152400" algn="just" eaLnBrk="1" hangingPunct="1">
              <a:buSzPct val="100000"/>
              <a:buFont typeface="Arial" panose="020B0604020202020204" pitchFamily="34" charset="0"/>
              <a:buChar char="−"/>
              <a:defRPr/>
            </a:pPr>
            <a:r>
              <a:rPr lang="en-US" altLang="en-US" sz="1800" b="0" dirty="0">
                <a:cs typeface="Arial" panose="020B0604020202020204" pitchFamily="34" charset="0"/>
              </a:rPr>
              <a:t>Additive facts are facts that can be summed up through all of the dimensions in the fact table</a:t>
            </a:r>
          </a:p>
          <a:p>
            <a:pPr algn="just" eaLnBrk="1" hangingPunct="1">
              <a:defRPr/>
            </a:pPr>
            <a:endParaRPr lang="en-US" altLang="en-US" sz="1200" dirty="0">
              <a:latin typeface="+mn-lt"/>
            </a:endParaRPr>
          </a:p>
          <a:p>
            <a:pPr algn="just" eaLnBrk="1" hangingPunct="1">
              <a:defRPr/>
            </a:pPr>
            <a:r>
              <a:rPr lang="en-US" altLang="en-US" sz="2000" b="0" u="sng" dirty="0">
                <a:solidFill>
                  <a:srgbClr val="92D050"/>
                </a:solidFill>
                <a:cs typeface="Arial" panose="020B0604020202020204" pitchFamily="34" charset="0"/>
              </a:rPr>
              <a:t>Semi-Additive facts: </a:t>
            </a:r>
          </a:p>
          <a:p>
            <a:pPr algn="just" eaLnBrk="1" hangingPunct="1">
              <a:defRPr/>
            </a:pPr>
            <a:endParaRPr lang="en-US" altLang="en-US" sz="1200" u="sng" dirty="0">
              <a:latin typeface="+mn-lt"/>
            </a:endParaRPr>
          </a:p>
          <a:p>
            <a:pPr marL="323850" lvl="2" indent="-152400" algn="just" eaLnBrk="1" hangingPunct="1">
              <a:buSzPct val="100000"/>
              <a:buFont typeface="Arial" panose="020B0604020202020204" pitchFamily="34" charset="0"/>
              <a:buChar char="−"/>
              <a:defRPr/>
            </a:pPr>
            <a:r>
              <a:rPr lang="en-US" altLang="en-US" sz="1800" b="0" dirty="0">
                <a:cs typeface="Arial" panose="020B0604020202020204" pitchFamily="34" charset="0"/>
              </a:rPr>
              <a:t>Semi-additive facts are facts that can be summed up for some of the dimensions in the fact table</a:t>
            </a:r>
          </a:p>
          <a:p>
            <a:pPr algn="just" eaLnBrk="1" hangingPunct="1">
              <a:defRPr/>
            </a:pPr>
            <a:endParaRPr lang="en-US" altLang="en-US" sz="1800" dirty="0">
              <a:solidFill>
                <a:srgbClr val="92D050"/>
              </a:solidFill>
              <a:cs typeface="Arial" panose="020B0604020202020204" pitchFamily="34" charset="0"/>
            </a:endParaRPr>
          </a:p>
          <a:p>
            <a:pPr algn="just" eaLnBrk="1" hangingPunct="1">
              <a:defRPr/>
            </a:pPr>
            <a:r>
              <a:rPr lang="en-US" altLang="en-US" sz="2000" b="0" u="sng" dirty="0">
                <a:solidFill>
                  <a:srgbClr val="92D050"/>
                </a:solidFill>
                <a:cs typeface="Arial" panose="020B0604020202020204" pitchFamily="34" charset="0"/>
              </a:rPr>
              <a:t>Non-additive facts:</a:t>
            </a:r>
          </a:p>
          <a:p>
            <a:pPr algn="just" eaLnBrk="1" hangingPunct="1">
              <a:defRPr/>
            </a:pPr>
            <a:endParaRPr lang="en-US" altLang="en-US" sz="1200" u="sng" dirty="0">
              <a:latin typeface="+mn-lt"/>
            </a:endParaRPr>
          </a:p>
          <a:p>
            <a:pPr marL="323850" lvl="2" indent="-152400" algn="just" eaLnBrk="1" hangingPunct="1">
              <a:buSzPct val="100000"/>
              <a:buFont typeface="Arial" panose="020B0604020202020204" pitchFamily="34" charset="0"/>
              <a:buChar char="−"/>
              <a:defRPr/>
            </a:pPr>
            <a:r>
              <a:rPr lang="en-US" altLang="en-US" sz="1800" dirty="0">
                <a:cs typeface="Arial" panose="020B0604020202020204" pitchFamily="34" charset="0"/>
              </a:rPr>
              <a:t> </a:t>
            </a:r>
            <a:r>
              <a:rPr lang="en-US" altLang="en-US" sz="1800" b="0" dirty="0">
                <a:cs typeface="Arial" panose="020B0604020202020204" pitchFamily="34" charset="0"/>
              </a:rPr>
              <a:t>Non-additive facts are facts that cannot be summed up for any of the dimensions Present in the fact table</a:t>
            </a:r>
          </a:p>
          <a:p>
            <a:pPr eaLnBrk="1" hangingPunct="1">
              <a:defRPr/>
            </a:pPr>
            <a:endParaRPr lang="en-US" altLang="en-US" sz="1800" dirty="0">
              <a:cs typeface="Arial" panose="020B0604020202020204" pitchFamily="34" charset="0"/>
            </a:endParaRPr>
          </a:p>
          <a:p>
            <a:pPr eaLnBrk="1" hangingPunct="1">
              <a:defRPr/>
            </a:pPr>
            <a:endParaRPr lang="en-US" altLang="en-US" sz="1350" dirty="0"/>
          </a:p>
          <a:p>
            <a:pPr eaLnBrk="1" hangingPunct="1">
              <a:defRPr/>
            </a:pPr>
            <a:endParaRPr lang="en-US" altLang="en-US" sz="1350" u="sng" dirty="0"/>
          </a:p>
        </p:txBody>
      </p:sp>
      <p:pic>
        <p:nvPicPr>
          <p:cNvPr id="16" name="DeloitteW">
            <a:extLst>
              <a:ext uri="{FF2B5EF4-FFF2-40B4-BE49-F238E27FC236}">
                <a16:creationId xmlns:a16="http://schemas.microsoft.com/office/drawing/2014/main" id="{462A1391-D1C4-4CAF-94C6-337A63D64F00}"/>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Tree>
    <p:extLst>
      <p:ext uri="{BB962C8B-B14F-4D97-AF65-F5344CB8AC3E}">
        <p14:creationId xmlns:p14="http://schemas.microsoft.com/office/powerpoint/2010/main" val="409064792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67635" y="184667"/>
            <a:ext cx="8411852" cy="595313"/>
          </a:xfrm>
        </p:spPr>
        <p:txBody>
          <a:bodyPr/>
          <a:lstStyle/>
          <a:p>
            <a:r>
              <a:rPr lang="en-US" sz="2800" b="1" dirty="0"/>
              <a:t>Dimensions</a:t>
            </a:r>
          </a:p>
        </p:txBody>
      </p:sp>
      <p:sp>
        <p:nvSpPr>
          <p:cNvPr id="6" name="Content Placeholder 2">
            <a:extLst>
              <a:ext uri="{FF2B5EF4-FFF2-40B4-BE49-F238E27FC236}">
                <a16:creationId xmlns:a16="http://schemas.microsoft.com/office/drawing/2014/main" id="{6D81A1E5-C815-4B9A-A9E1-D7E3CB9389A2}"/>
              </a:ext>
            </a:extLst>
          </p:cNvPr>
          <p:cNvSpPr>
            <a:spLocks noGrp="1"/>
          </p:cNvSpPr>
          <p:nvPr>
            <p:ph idx="1"/>
          </p:nvPr>
        </p:nvSpPr>
        <p:spPr>
          <a:xfrm>
            <a:off x="167635" y="815785"/>
            <a:ext cx="8411852" cy="6296635"/>
          </a:xfrm>
        </p:spPr>
        <p:txBody>
          <a:bodyPr>
            <a:noAutofit/>
          </a:bodyPr>
          <a:lstStyle/>
          <a:p>
            <a:pPr marL="285750" marR="0" lvl="0" indent="-285750" algn="l" defTabSz="914400" rtl="0" eaLnBrk="1" fontAlgn="base" latinLnBrk="0" hangingPunct="1">
              <a:lnSpc>
                <a:spcPct val="105000"/>
              </a:lnSpc>
              <a:spcBef>
                <a:spcPct val="20000"/>
              </a:spcBef>
              <a:spcAft>
                <a:spcPct val="0"/>
              </a:spcAft>
              <a:buClr>
                <a:srgbClr val="92D050"/>
              </a:buClr>
              <a:buSzPct val="120000"/>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Qualifying characteristics that provide additional perspectives to a given fact</a:t>
            </a:r>
          </a:p>
          <a:p>
            <a:pPr marL="628650" marR="0" lvl="1" indent="-285750" algn="l" defTabSz="914400" rtl="0" eaLnBrk="1" fontAlgn="base" latinLnBrk="0" hangingPunct="1">
              <a:lnSpc>
                <a:spcPct val="105000"/>
              </a:lnSpc>
              <a:spcBef>
                <a:spcPct val="20000"/>
              </a:spcBef>
              <a:spcAft>
                <a:spcPct val="0"/>
              </a:spcAft>
              <a:buClr>
                <a:srgbClr val="92D050"/>
              </a:buClr>
              <a:buSzPct val="90000"/>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rPr>
              <a:t>DSS data is almost always viewed in relation to other data</a:t>
            </a:r>
          </a:p>
          <a:p>
            <a:pPr marL="342900" marR="0" lvl="1" algn="l" defTabSz="914400" rtl="0" eaLnBrk="1" fontAlgn="base" latinLnBrk="0" hangingPunct="1">
              <a:lnSpc>
                <a:spcPct val="105000"/>
              </a:lnSpc>
              <a:spcBef>
                <a:spcPct val="20000"/>
              </a:spcBef>
              <a:spcAft>
                <a:spcPct val="0"/>
              </a:spcAft>
              <a:buClr>
                <a:srgbClr val="92D050"/>
              </a:buClr>
              <a:buSzPct val="90000"/>
              <a:tabLst/>
              <a:defRPr/>
            </a:pPr>
            <a:endParaRPr kumimoji="0" lang="en-US" sz="1800" b="0" i="0" u="none" strike="noStrike" kern="0" cap="none" spc="0" normalizeH="0" baseline="0" noProof="0" dirty="0">
              <a:ln>
                <a:noFill/>
              </a:ln>
              <a:solidFill>
                <a:srgbClr val="000000"/>
              </a:solidFill>
              <a:effectLst/>
              <a:uLnTx/>
              <a:uFillTx/>
              <a:latin typeface="Arial"/>
            </a:endParaRPr>
          </a:p>
          <a:p>
            <a:pPr marL="285750" marR="0" lvl="0" indent="-285750" algn="l" defTabSz="914400" rtl="0" eaLnBrk="1" fontAlgn="base" latinLnBrk="0" hangingPunct="1">
              <a:lnSpc>
                <a:spcPct val="105000"/>
              </a:lnSpc>
              <a:spcBef>
                <a:spcPct val="20000"/>
              </a:spcBef>
              <a:spcAft>
                <a:spcPct val="0"/>
              </a:spcAft>
              <a:buClr>
                <a:srgbClr val="92D050"/>
              </a:buClr>
              <a:buSzPct val="120000"/>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Dimensions are normally stored in dimension tables</a:t>
            </a:r>
          </a:p>
          <a:p>
            <a:pPr marR="0" lvl="0" algn="l" defTabSz="914400" rtl="0" eaLnBrk="1" fontAlgn="base" latinLnBrk="0" hangingPunct="1">
              <a:lnSpc>
                <a:spcPct val="105000"/>
              </a:lnSpc>
              <a:spcBef>
                <a:spcPct val="20000"/>
              </a:spcBef>
              <a:spcAft>
                <a:spcPct val="0"/>
              </a:spcAft>
              <a:buClr>
                <a:srgbClr val="92D050"/>
              </a:buClr>
              <a:buSzPct val="120000"/>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a:p>
            <a:pPr marL="285750" indent="-285750">
              <a:buClr>
                <a:srgbClr val="92D050"/>
              </a:buClr>
              <a:buSzPct val="120000"/>
              <a:buFont typeface="Wingdings" panose="05000000000000000000" pitchFamily="2" charset="2"/>
              <a:buChar char="Ø"/>
            </a:pPr>
            <a:r>
              <a:rPr lang="en-US" sz="1800" dirty="0">
                <a:latin typeface="Arial" panose="020B0604020202020204" pitchFamily="34" charset="0"/>
                <a:cs typeface="Arial" panose="020B0604020202020204" pitchFamily="34" charset="0"/>
              </a:rPr>
              <a:t>A </a:t>
            </a:r>
            <a:r>
              <a:rPr lang="en-US" sz="1800" b="1" dirty="0">
                <a:latin typeface="Arial" panose="020B0604020202020204" pitchFamily="34" charset="0"/>
                <a:cs typeface="Arial" panose="020B0604020202020204" pitchFamily="34" charset="0"/>
              </a:rPr>
              <a:t>dimension</a:t>
            </a:r>
            <a:r>
              <a:rPr lang="en-US" sz="1800" dirty="0">
                <a:latin typeface="Arial" panose="020B0604020202020204" pitchFamily="34" charset="0"/>
                <a:cs typeface="Arial" panose="020B0604020202020204" pitchFamily="34" charset="0"/>
              </a:rPr>
              <a:t> is a structure that categorizes facts and measures in order to enable users to answer business questions. Commonly used </a:t>
            </a:r>
            <a:r>
              <a:rPr lang="en-US" sz="1800" b="1" dirty="0">
                <a:latin typeface="Arial" panose="020B0604020202020204" pitchFamily="34" charset="0"/>
                <a:cs typeface="Arial" panose="020B0604020202020204" pitchFamily="34" charset="0"/>
              </a:rPr>
              <a:t>dimensions</a:t>
            </a:r>
            <a:r>
              <a:rPr lang="en-US" sz="1800" dirty="0">
                <a:latin typeface="Arial" panose="020B0604020202020204" pitchFamily="34" charset="0"/>
                <a:cs typeface="Arial" panose="020B0604020202020204" pitchFamily="34" charset="0"/>
              </a:rPr>
              <a:t> are people, products, place and time. In a </a:t>
            </a:r>
            <a:r>
              <a:rPr lang="en-US" sz="1800" b="1" dirty="0">
                <a:latin typeface="Arial" panose="020B0604020202020204" pitchFamily="34" charset="0"/>
                <a:cs typeface="Arial" panose="020B0604020202020204" pitchFamily="34" charset="0"/>
              </a:rPr>
              <a:t>data warehouse</a:t>
            </a:r>
            <a:r>
              <a:rPr lang="en-US" sz="1800" dirty="0">
                <a:latin typeface="Arial" panose="020B0604020202020204" pitchFamily="34" charset="0"/>
                <a:cs typeface="Arial" panose="020B0604020202020204" pitchFamily="34" charset="0"/>
              </a:rPr>
              <a:t>, </a:t>
            </a:r>
            <a:r>
              <a:rPr lang="en-US" sz="1800" b="1" dirty="0">
                <a:latin typeface="Arial" panose="020B0604020202020204" pitchFamily="34" charset="0"/>
                <a:cs typeface="Arial" panose="020B0604020202020204" pitchFamily="34" charset="0"/>
              </a:rPr>
              <a:t>dimensions</a:t>
            </a:r>
            <a:r>
              <a:rPr lang="en-US" sz="1800" dirty="0">
                <a:latin typeface="Arial" panose="020B0604020202020204" pitchFamily="34" charset="0"/>
                <a:cs typeface="Arial" panose="020B0604020202020204" pitchFamily="34" charset="0"/>
              </a:rPr>
              <a:t> provide structured labeling information to otherwise unordered numeric measures.</a:t>
            </a:r>
            <a:endParaRPr lang="en-US" altLang="en-US" sz="1800" dirty="0">
              <a:latin typeface="Arial" panose="020B0604020202020204" pitchFamily="34" charset="0"/>
              <a:cs typeface="Arial" panose="020B0604020202020204" pitchFamily="34" charset="0"/>
            </a:endParaRPr>
          </a:p>
          <a:p>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6755453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52425" y="381000"/>
            <a:ext cx="8439150" cy="757255"/>
          </a:xfrm>
        </p:spPr>
        <p:txBody>
          <a:bodyPr/>
          <a:lstStyle/>
          <a:p>
            <a:r>
              <a:rPr lang="en-US" sz="2800" b="1" dirty="0">
                <a:solidFill>
                  <a:schemeClr val="tx1"/>
                </a:solidFill>
              </a:rPr>
              <a:t>Dimension Table Types</a:t>
            </a:r>
          </a:p>
        </p:txBody>
      </p:sp>
      <p:sp>
        <p:nvSpPr>
          <p:cNvPr id="4" name="Rectangle 3"/>
          <p:cNvSpPr txBox="1">
            <a:spLocks noChangeArrowheads="1"/>
          </p:cNvSpPr>
          <p:nvPr/>
        </p:nvSpPr>
        <p:spPr>
          <a:xfrm>
            <a:off x="352425" y="1159371"/>
            <a:ext cx="6387017" cy="3488829"/>
          </a:xfrm>
          <a:prstGeom prst="rect">
            <a:avLst/>
          </a:prstGeom>
        </p:spPr>
        <p:txBody>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250000"/>
              </a:lnSpc>
              <a:buClr>
                <a:srgbClr val="92D050"/>
              </a:buClr>
              <a:buFont typeface="Wingdings" panose="05000000000000000000" pitchFamily="2" charset="2"/>
              <a:buChar char="v"/>
            </a:pPr>
            <a:r>
              <a:rPr lang="en-US" altLang="en-US" dirty="0">
                <a:latin typeface="Arial" panose="020B0604020202020204" pitchFamily="34" charset="0"/>
                <a:cs typeface="Arial" panose="020B0604020202020204" pitchFamily="34" charset="0"/>
              </a:rPr>
              <a:t>Slowly Changing dimensions</a:t>
            </a:r>
          </a:p>
          <a:p>
            <a:pPr marL="285750" indent="-285750">
              <a:lnSpc>
                <a:spcPct val="250000"/>
              </a:lnSpc>
              <a:buClr>
                <a:srgbClr val="92D050"/>
              </a:buClr>
              <a:buFont typeface="Wingdings" panose="05000000000000000000" pitchFamily="2" charset="2"/>
              <a:buChar char="v"/>
            </a:pPr>
            <a:r>
              <a:rPr lang="en-US" altLang="en-US" dirty="0">
                <a:latin typeface="Arial" panose="020B0604020202020204" pitchFamily="34" charset="0"/>
                <a:cs typeface="Arial" panose="020B0604020202020204" pitchFamily="34" charset="0"/>
              </a:rPr>
              <a:t>Junk Dimensions</a:t>
            </a:r>
          </a:p>
          <a:p>
            <a:pPr marL="285750" indent="-285750">
              <a:lnSpc>
                <a:spcPct val="250000"/>
              </a:lnSpc>
              <a:buClr>
                <a:srgbClr val="92D050"/>
              </a:buClr>
              <a:buFont typeface="Wingdings" panose="05000000000000000000" pitchFamily="2" charset="2"/>
              <a:buChar char="v"/>
            </a:pPr>
            <a:r>
              <a:rPr lang="en-US" altLang="en-US" dirty="0">
                <a:latin typeface="Arial" panose="020B0604020202020204" pitchFamily="34" charset="0"/>
                <a:cs typeface="Arial" panose="020B0604020202020204" pitchFamily="34" charset="0"/>
              </a:rPr>
              <a:t>Conformed Dimensions</a:t>
            </a:r>
          </a:p>
          <a:p>
            <a:pPr marL="285750" indent="-285750">
              <a:lnSpc>
                <a:spcPct val="250000"/>
              </a:lnSpc>
              <a:buClr>
                <a:srgbClr val="92D050"/>
              </a:buClr>
              <a:buFont typeface="Wingdings" panose="05000000000000000000" pitchFamily="2" charset="2"/>
              <a:buChar char="v"/>
            </a:pPr>
            <a:r>
              <a:rPr lang="en-US" altLang="en-US" dirty="0">
                <a:latin typeface="Arial" panose="020B0604020202020204" pitchFamily="34" charset="0"/>
                <a:cs typeface="Arial" panose="020B0604020202020204" pitchFamily="34" charset="0"/>
              </a:rPr>
              <a:t>Degenerated Dimensions</a:t>
            </a:r>
          </a:p>
          <a:p>
            <a:pPr>
              <a:lnSpc>
                <a:spcPct val="80000"/>
              </a:lnSpc>
              <a:buFontTx/>
              <a:buNone/>
            </a:pPr>
            <a:endParaRPr lang="en-US" altLang="en-US" b="1" dirty="0">
              <a:latin typeface="Arial" panose="020B0604020202020204" pitchFamily="34" charset="0"/>
              <a:cs typeface="Arial" panose="020B0604020202020204" pitchFamily="34" charset="0"/>
            </a:endParaRPr>
          </a:p>
        </p:txBody>
      </p:sp>
      <p:pic>
        <p:nvPicPr>
          <p:cNvPr id="10" name="DeloitteW">
            <a:extLst>
              <a:ext uri="{FF2B5EF4-FFF2-40B4-BE49-F238E27FC236}">
                <a16:creationId xmlns:a16="http://schemas.microsoft.com/office/drawing/2014/main" id="{07FEEEE8-34B5-4F46-AF6C-E06E27B74A4C}"/>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Tree>
    <p:extLst>
      <p:ext uri="{BB962C8B-B14F-4D97-AF65-F5344CB8AC3E}">
        <p14:creationId xmlns:p14="http://schemas.microsoft.com/office/powerpoint/2010/main" val="347870240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15602" y="457200"/>
            <a:ext cx="8439150" cy="757255"/>
          </a:xfrm>
        </p:spPr>
        <p:txBody>
          <a:bodyPr/>
          <a:lstStyle/>
          <a:p>
            <a:r>
              <a:rPr lang="en-US" sz="2800" b="1" dirty="0">
                <a:solidFill>
                  <a:schemeClr val="tx1"/>
                </a:solidFill>
              </a:rPr>
              <a:t>Degenerated Dimension</a:t>
            </a:r>
          </a:p>
        </p:txBody>
      </p:sp>
      <p:sp>
        <p:nvSpPr>
          <p:cNvPr id="4" name="Text Box 2"/>
          <p:cNvSpPr txBox="1">
            <a:spLocks noChangeArrowheads="1"/>
          </p:cNvSpPr>
          <p:nvPr/>
        </p:nvSpPr>
        <p:spPr bwMode="auto">
          <a:xfrm>
            <a:off x="152400" y="1214455"/>
            <a:ext cx="8323269" cy="294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b="1">
                <a:solidFill>
                  <a:schemeClr val="tx1"/>
                </a:solidFill>
                <a:latin typeface="Arial" panose="020B0604020202020204" pitchFamily="34" charset="0"/>
              </a:defRPr>
            </a:lvl1pPr>
            <a:lvl2pPr marL="203200" indent="-20320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marL="285750" lvl="1" indent="-285750" algn="just" eaLnBrk="1" hangingPunct="1">
              <a:lnSpc>
                <a:spcPct val="150000"/>
              </a:lnSpc>
              <a:buClr>
                <a:srgbClr val="92D050"/>
              </a:buClr>
              <a:buSzPct val="100000"/>
              <a:buFont typeface="Wingdings" panose="05000000000000000000" pitchFamily="2" charset="2"/>
              <a:buChar char="§"/>
              <a:defRPr/>
            </a:pPr>
            <a:r>
              <a:rPr lang="en-US" altLang="en-US" sz="1800" dirty="0">
                <a:cs typeface="Arial" panose="020B0604020202020204" pitchFamily="34" charset="0"/>
              </a:rPr>
              <a:t>Degenerate dimension</a:t>
            </a:r>
            <a:r>
              <a:rPr lang="en-US" altLang="en-US" sz="1800" b="0" dirty="0">
                <a:cs typeface="Arial" panose="020B0604020202020204" pitchFamily="34" charset="0"/>
              </a:rPr>
              <a:t> is a dimension which is derived from the fact table and doesn't have its own dimension table.  </a:t>
            </a:r>
          </a:p>
          <a:p>
            <a:pPr marL="285750" indent="-285750" algn="just" eaLnBrk="1" hangingPunct="1">
              <a:lnSpc>
                <a:spcPct val="150000"/>
              </a:lnSpc>
              <a:buClr>
                <a:srgbClr val="92D050"/>
              </a:buClr>
              <a:buFont typeface="Wingdings" panose="05000000000000000000" pitchFamily="2" charset="2"/>
              <a:buChar char="§"/>
              <a:defRPr/>
            </a:pPr>
            <a:endParaRPr lang="en-US" altLang="en-US" sz="1800" b="0" dirty="0">
              <a:cs typeface="Arial" panose="020B0604020202020204" pitchFamily="34" charset="0"/>
            </a:endParaRPr>
          </a:p>
          <a:p>
            <a:pPr marL="285750" lvl="1" indent="-285750" algn="just" eaLnBrk="1" hangingPunct="1">
              <a:lnSpc>
                <a:spcPct val="150000"/>
              </a:lnSpc>
              <a:buClr>
                <a:srgbClr val="92D050"/>
              </a:buClr>
              <a:buSzPct val="100000"/>
              <a:buFont typeface="Wingdings" panose="05000000000000000000" pitchFamily="2" charset="2"/>
              <a:buChar char="§"/>
              <a:defRPr/>
            </a:pPr>
            <a:r>
              <a:rPr lang="en-US" altLang="en-US" sz="1800" dirty="0">
                <a:cs typeface="Arial" panose="020B0604020202020204" pitchFamily="34" charset="0"/>
              </a:rPr>
              <a:t>Degenerate dimensions</a:t>
            </a:r>
            <a:r>
              <a:rPr lang="en-US" altLang="en-US" sz="1800" b="0" dirty="0">
                <a:cs typeface="Arial" panose="020B0604020202020204" pitchFamily="34" charset="0"/>
              </a:rPr>
              <a:t> are often used when a fact table's grain represents transactional level data and one wishes to maintain system specific identifiers such as order numbers, invoice numbers and the like without forcing their inclusion in their own dimension.</a:t>
            </a:r>
          </a:p>
        </p:txBody>
      </p:sp>
      <p:pic>
        <p:nvPicPr>
          <p:cNvPr id="5" name="DeloitteW">
            <a:extLst>
              <a:ext uri="{FF2B5EF4-FFF2-40B4-BE49-F238E27FC236}">
                <a16:creationId xmlns:a16="http://schemas.microsoft.com/office/drawing/2014/main" id="{42B05B91-AB44-41FA-90BA-204EA78A1325}"/>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Tree>
    <p:extLst>
      <p:ext uri="{BB962C8B-B14F-4D97-AF65-F5344CB8AC3E}">
        <p14:creationId xmlns:p14="http://schemas.microsoft.com/office/powerpoint/2010/main" val="402260473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sz="2800" b="1" dirty="0">
                <a:solidFill>
                  <a:schemeClr val="tx1"/>
                </a:solidFill>
              </a:rPr>
              <a:t>Conformed Dimension</a:t>
            </a:r>
          </a:p>
        </p:txBody>
      </p:sp>
      <p:sp>
        <p:nvSpPr>
          <p:cNvPr id="4" name="Text Box 2"/>
          <p:cNvSpPr txBox="1">
            <a:spLocks noChangeArrowheads="1"/>
          </p:cNvSpPr>
          <p:nvPr/>
        </p:nvSpPr>
        <p:spPr bwMode="auto">
          <a:xfrm>
            <a:off x="228600" y="1219200"/>
            <a:ext cx="8224361" cy="3273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b="1">
                <a:solidFill>
                  <a:schemeClr val="tx1"/>
                </a:solidFill>
                <a:latin typeface="Arial" panose="020B0604020202020204" pitchFamily="34" charset="0"/>
              </a:defRPr>
            </a:lvl1pPr>
            <a:lvl2pPr marL="203200" indent="-20320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marL="285750" indent="-285750">
              <a:lnSpc>
                <a:spcPct val="150000"/>
              </a:lnSpc>
              <a:buClr>
                <a:srgbClr val="92D050"/>
              </a:buClr>
              <a:buFont typeface="Wingdings" panose="05000000000000000000" pitchFamily="2" charset="2"/>
              <a:buChar char="§"/>
              <a:defRPr/>
            </a:pPr>
            <a:endParaRPr lang="en-US" altLang="en-US" sz="1800" u="sng" dirty="0"/>
          </a:p>
          <a:p>
            <a:pPr marL="285750" lvl="1" indent="-285750" algn="just">
              <a:lnSpc>
                <a:spcPct val="150000"/>
              </a:lnSpc>
              <a:buClr>
                <a:srgbClr val="92D050"/>
              </a:buClr>
              <a:buSzPct val="100000"/>
              <a:buFont typeface="Wingdings" panose="05000000000000000000" pitchFamily="2" charset="2"/>
              <a:buChar char="§"/>
              <a:defRPr/>
            </a:pPr>
            <a:r>
              <a:rPr lang="en-US" sz="1800" b="0" dirty="0"/>
              <a:t>A </a:t>
            </a:r>
            <a:r>
              <a:rPr lang="en-US" sz="1800" dirty="0"/>
              <a:t>conformed dimension</a:t>
            </a:r>
            <a:r>
              <a:rPr lang="en-US" sz="1800" b="0" dirty="0"/>
              <a:t> is a </a:t>
            </a:r>
            <a:r>
              <a:rPr lang="en-US" sz="1800" dirty="0"/>
              <a:t>dimension</a:t>
            </a:r>
            <a:r>
              <a:rPr lang="en-US" sz="1800" b="0" dirty="0"/>
              <a:t> that has the same meaning to every fact with which it relates. </a:t>
            </a:r>
          </a:p>
          <a:p>
            <a:pPr marL="285750" lvl="1" indent="-285750" algn="just">
              <a:lnSpc>
                <a:spcPct val="150000"/>
              </a:lnSpc>
              <a:buClr>
                <a:srgbClr val="92D050"/>
              </a:buClr>
              <a:buSzPct val="100000"/>
              <a:buFont typeface="Wingdings" panose="05000000000000000000" pitchFamily="2" charset="2"/>
              <a:buChar char="§"/>
              <a:defRPr/>
            </a:pPr>
            <a:endParaRPr lang="en-US" sz="1800" b="0" dirty="0"/>
          </a:p>
          <a:p>
            <a:pPr marL="285750" lvl="1" indent="-285750" algn="just">
              <a:lnSpc>
                <a:spcPct val="150000"/>
              </a:lnSpc>
              <a:buClr>
                <a:srgbClr val="92D050"/>
              </a:buClr>
              <a:buSzPct val="100000"/>
              <a:buFont typeface="Wingdings" panose="05000000000000000000" pitchFamily="2" charset="2"/>
              <a:buChar char="§"/>
              <a:defRPr/>
            </a:pPr>
            <a:r>
              <a:rPr lang="en-US" sz="1800" dirty="0"/>
              <a:t>Conformed dimensions</a:t>
            </a:r>
            <a:r>
              <a:rPr lang="en-US" sz="1800" b="0" dirty="0"/>
              <a:t> allow facts and measures to be categorized and described in the same way across multiple facts and/or data marts, ensuring consistent reporting across the enterprise.</a:t>
            </a:r>
            <a:endParaRPr lang="en-US" altLang="en-US" sz="1800" b="0" dirty="0"/>
          </a:p>
          <a:p>
            <a:pPr algn="just">
              <a:lnSpc>
                <a:spcPct val="150000"/>
              </a:lnSpc>
              <a:buFont typeface="Wingdings" panose="05000000000000000000" pitchFamily="2" charset="2"/>
              <a:buChar char="Ø"/>
              <a:defRPr/>
            </a:pPr>
            <a:endParaRPr lang="en-US" altLang="en-US" sz="1350" b="0" dirty="0"/>
          </a:p>
        </p:txBody>
      </p:sp>
      <p:pic>
        <p:nvPicPr>
          <p:cNvPr id="5" name="DeloitteW">
            <a:extLst>
              <a:ext uri="{FF2B5EF4-FFF2-40B4-BE49-F238E27FC236}">
                <a16:creationId xmlns:a16="http://schemas.microsoft.com/office/drawing/2014/main" id="{B2187A54-4247-448D-9596-91415CE48B60}"/>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Tree>
    <p:extLst>
      <p:ext uri="{BB962C8B-B14F-4D97-AF65-F5344CB8AC3E}">
        <p14:creationId xmlns:p14="http://schemas.microsoft.com/office/powerpoint/2010/main" val="389024140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7794" name="Rectangle 2"/>
          <p:cNvSpPr>
            <a:spLocks noGrp="1" noChangeArrowheads="1"/>
          </p:cNvSpPr>
          <p:nvPr>
            <p:ph type="title"/>
          </p:nvPr>
        </p:nvSpPr>
        <p:spPr/>
        <p:txBody>
          <a:bodyPr/>
          <a:lstStyle/>
          <a:p>
            <a:r>
              <a:rPr lang="en-US" sz="2800" b="1" dirty="0"/>
              <a:t>What is a Data Warehouse ?</a:t>
            </a:r>
          </a:p>
        </p:txBody>
      </p:sp>
      <p:grpSp>
        <p:nvGrpSpPr>
          <p:cNvPr id="6" name="Group 32"/>
          <p:cNvGrpSpPr>
            <a:grpSpLocks/>
          </p:cNvGrpSpPr>
          <p:nvPr/>
        </p:nvGrpSpPr>
        <p:grpSpPr bwMode="auto">
          <a:xfrm>
            <a:off x="6207125" y="3048000"/>
            <a:ext cx="2819400" cy="3157538"/>
            <a:chOff x="1414" y="2160"/>
            <a:chExt cx="1776" cy="1989"/>
          </a:xfrm>
        </p:grpSpPr>
        <p:sp>
          <p:nvSpPr>
            <p:cNvPr id="7" name="Cloud"/>
            <p:cNvSpPr>
              <a:spLocks noChangeAspect="1" noEditPoints="1" noChangeArrowheads="1"/>
            </p:cNvSpPr>
            <p:nvPr/>
          </p:nvSpPr>
          <p:spPr bwMode="auto">
            <a:xfrm>
              <a:off x="1414" y="2958"/>
              <a:ext cx="1776" cy="1191"/>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BE7D"/>
            </a:solidFill>
            <a:ln w="9525">
              <a:solidFill>
                <a:srgbClr val="000000"/>
              </a:solidFill>
              <a:miter lim="800000"/>
              <a:headEnd/>
              <a:tailEnd/>
            </a:ln>
            <a:effectLst>
              <a:outerShdw dist="107763" dir="2700000" algn="ctr" rotWithShape="0">
                <a:srgbClr val="808080"/>
              </a:outerShdw>
            </a:effectLst>
          </p:spPr>
          <p:txBody>
            <a:bodyPr/>
            <a:lstStyle/>
            <a:p>
              <a:pPr>
                <a:defRPr/>
              </a:pPr>
              <a:endParaRPr lang="en-US" sz="1100" dirty="0">
                <a:solidFill>
                  <a:srgbClr val="FF33CC"/>
                </a:solidFill>
                <a:cs typeface="+mn-cs"/>
              </a:endParaRPr>
            </a:p>
            <a:p>
              <a:pPr>
                <a:defRPr/>
              </a:pPr>
              <a:r>
                <a:rPr lang="en-US" sz="1100" dirty="0">
                  <a:solidFill>
                    <a:srgbClr val="FF33CC"/>
                  </a:solidFill>
                  <a:cs typeface="+mn-cs"/>
                </a:rPr>
                <a:t>  Data stored for historical period. Data is populated in the data warehouse on daily/weekly basis depending upon the  requirement.</a:t>
              </a:r>
            </a:p>
          </p:txBody>
        </p:sp>
        <p:sp>
          <p:nvSpPr>
            <p:cNvPr id="8" name="AutoShape 19"/>
            <p:cNvSpPr>
              <a:spLocks noChangeArrowheads="1"/>
            </p:cNvSpPr>
            <p:nvPr/>
          </p:nvSpPr>
          <p:spPr bwMode="auto">
            <a:xfrm>
              <a:off x="2352" y="2544"/>
              <a:ext cx="288" cy="288"/>
            </a:xfrm>
            <a:prstGeom prst="flowChartConnector">
              <a:avLst/>
            </a:prstGeom>
            <a:solidFill>
              <a:srgbClr val="FFCC99"/>
            </a:solidFill>
            <a:ln w="9525">
              <a:noFill/>
              <a:round/>
              <a:headEnd/>
              <a:tailEnd/>
            </a:ln>
          </p:spPr>
          <p:txBody>
            <a:bodyPr wrap="none" anchor="ctr">
              <a:spAutoFit/>
            </a:bodyPr>
            <a:lstStyle/>
            <a:p>
              <a:endParaRPr lang="en-US"/>
            </a:p>
          </p:txBody>
        </p:sp>
        <p:sp>
          <p:nvSpPr>
            <p:cNvPr id="9" name="AutoShape 22"/>
            <p:cNvSpPr>
              <a:spLocks noChangeArrowheads="1"/>
            </p:cNvSpPr>
            <p:nvPr/>
          </p:nvSpPr>
          <p:spPr bwMode="auto">
            <a:xfrm>
              <a:off x="2256" y="2352"/>
              <a:ext cx="240" cy="144"/>
            </a:xfrm>
            <a:prstGeom prst="flowChartConnector">
              <a:avLst/>
            </a:prstGeom>
            <a:solidFill>
              <a:srgbClr val="FFCC99"/>
            </a:solidFill>
            <a:ln w="9525">
              <a:noFill/>
              <a:round/>
              <a:headEnd/>
              <a:tailEnd/>
            </a:ln>
          </p:spPr>
          <p:txBody>
            <a:bodyPr anchor="ctr">
              <a:spAutoFit/>
            </a:bodyPr>
            <a:lstStyle/>
            <a:p>
              <a:endParaRPr lang="en-US"/>
            </a:p>
          </p:txBody>
        </p:sp>
        <p:sp>
          <p:nvSpPr>
            <p:cNvPr id="10" name="AutoShape 23"/>
            <p:cNvSpPr>
              <a:spLocks noChangeArrowheads="1"/>
            </p:cNvSpPr>
            <p:nvPr/>
          </p:nvSpPr>
          <p:spPr bwMode="auto">
            <a:xfrm>
              <a:off x="2160" y="2160"/>
              <a:ext cx="192" cy="96"/>
            </a:xfrm>
            <a:prstGeom prst="flowChartConnector">
              <a:avLst/>
            </a:prstGeom>
            <a:solidFill>
              <a:srgbClr val="FFCC99"/>
            </a:solidFill>
            <a:ln w="9525">
              <a:noFill/>
              <a:round/>
              <a:headEnd/>
              <a:tailEnd/>
            </a:ln>
          </p:spPr>
          <p:txBody>
            <a:bodyPr anchor="ctr">
              <a:spAutoFit/>
            </a:bodyPr>
            <a:lstStyle/>
            <a:p>
              <a:endParaRPr lang="en-US"/>
            </a:p>
          </p:txBody>
        </p:sp>
      </p:grpSp>
      <p:grpSp>
        <p:nvGrpSpPr>
          <p:cNvPr id="11" name="Group 33"/>
          <p:cNvGrpSpPr>
            <a:grpSpLocks/>
          </p:cNvGrpSpPr>
          <p:nvPr/>
        </p:nvGrpSpPr>
        <p:grpSpPr bwMode="auto">
          <a:xfrm>
            <a:off x="2362200" y="766762"/>
            <a:ext cx="2438400" cy="1981200"/>
            <a:chOff x="2352" y="528"/>
            <a:chExt cx="1536" cy="1248"/>
          </a:xfrm>
        </p:grpSpPr>
        <p:sp>
          <p:nvSpPr>
            <p:cNvPr id="12" name="Cloud"/>
            <p:cNvSpPr>
              <a:spLocks noChangeAspect="1" noEditPoints="1" noChangeArrowheads="1"/>
            </p:cNvSpPr>
            <p:nvPr/>
          </p:nvSpPr>
          <p:spPr bwMode="auto">
            <a:xfrm>
              <a:off x="2352" y="528"/>
              <a:ext cx="1536" cy="1029"/>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BE7D"/>
            </a:solidFill>
            <a:ln w="9525">
              <a:solidFill>
                <a:srgbClr val="000000"/>
              </a:solidFill>
              <a:miter lim="800000"/>
              <a:headEnd/>
              <a:tailEnd/>
            </a:ln>
            <a:effectLst>
              <a:outerShdw dist="107763" dir="2700000" algn="ctr" rotWithShape="0">
                <a:srgbClr val="808080"/>
              </a:outerShdw>
            </a:effectLst>
          </p:spPr>
          <p:txBody>
            <a:bodyPr/>
            <a:lstStyle/>
            <a:p>
              <a:pPr>
                <a:defRPr/>
              </a:pPr>
              <a:r>
                <a:rPr lang="en-US" sz="1100" dirty="0">
                  <a:solidFill>
                    <a:schemeClr val="accent2"/>
                  </a:solidFill>
                  <a:cs typeface="+mn-cs"/>
                </a:rPr>
                <a:t>Can I see credit report from Accounts, Sales from marketing and open order report from order entry for this customer</a:t>
              </a:r>
            </a:p>
          </p:txBody>
        </p:sp>
        <p:sp>
          <p:nvSpPr>
            <p:cNvPr id="13" name="AutoShape 25"/>
            <p:cNvSpPr>
              <a:spLocks noChangeArrowheads="1"/>
            </p:cNvSpPr>
            <p:nvPr/>
          </p:nvSpPr>
          <p:spPr bwMode="auto">
            <a:xfrm>
              <a:off x="3312" y="1488"/>
              <a:ext cx="240" cy="144"/>
            </a:xfrm>
            <a:prstGeom prst="flowChartConnector">
              <a:avLst/>
            </a:prstGeom>
            <a:solidFill>
              <a:srgbClr val="FFCC99"/>
            </a:solidFill>
            <a:ln w="9525">
              <a:noFill/>
              <a:round/>
              <a:headEnd/>
              <a:tailEnd/>
            </a:ln>
          </p:spPr>
          <p:txBody>
            <a:bodyPr anchor="ctr">
              <a:spAutoFit/>
            </a:bodyPr>
            <a:lstStyle/>
            <a:p>
              <a:endParaRPr lang="en-US"/>
            </a:p>
          </p:txBody>
        </p:sp>
        <p:sp>
          <p:nvSpPr>
            <p:cNvPr id="14" name="AutoShape 26"/>
            <p:cNvSpPr>
              <a:spLocks noChangeArrowheads="1"/>
            </p:cNvSpPr>
            <p:nvPr/>
          </p:nvSpPr>
          <p:spPr bwMode="auto">
            <a:xfrm>
              <a:off x="3312" y="1680"/>
              <a:ext cx="192" cy="96"/>
            </a:xfrm>
            <a:prstGeom prst="flowChartConnector">
              <a:avLst/>
            </a:prstGeom>
            <a:solidFill>
              <a:srgbClr val="FFCC99"/>
            </a:solidFill>
            <a:ln w="9525">
              <a:noFill/>
              <a:round/>
              <a:headEnd/>
              <a:tailEnd/>
            </a:ln>
          </p:spPr>
          <p:txBody>
            <a:bodyPr anchor="ctr">
              <a:spAutoFit/>
            </a:bodyPr>
            <a:lstStyle/>
            <a:p>
              <a:endParaRPr lang="en-US"/>
            </a:p>
          </p:txBody>
        </p:sp>
      </p:grpSp>
      <p:grpSp>
        <p:nvGrpSpPr>
          <p:cNvPr id="15" name="Group 34"/>
          <p:cNvGrpSpPr>
            <a:grpSpLocks/>
          </p:cNvGrpSpPr>
          <p:nvPr/>
        </p:nvGrpSpPr>
        <p:grpSpPr bwMode="auto">
          <a:xfrm>
            <a:off x="5181600" y="995362"/>
            <a:ext cx="1981200" cy="1752600"/>
            <a:chOff x="4320" y="672"/>
            <a:chExt cx="1248" cy="1104"/>
          </a:xfrm>
        </p:grpSpPr>
        <p:sp>
          <p:nvSpPr>
            <p:cNvPr id="16" name="Cloud"/>
            <p:cNvSpPr>
              <a:spLocks noChangeAspect="1" noEditPoints="1" noChangeArrowheads="1"/>
            </p:cNvSpPr>
            <p:nvPr/>
          </p:nvSpPr>
          <p:spPr bwMode="auto">
            <a:xfrm>
              <a:off x="4320" y="672"/>
              <a:ext cx="1248" cy="836"/>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BE7D"/>
            </a:solidFill>
            <a:ln w="9525">
              <a:solidFill>
                <a:srgbClr val="000000"/>
              </a:solidFill>
              <a:miter lim="800000"/>
              <a:headEnd/>
              <a:tailEnd/>
            </a:ln>
            <a:effectLst>
              <a:outerShdw dist="107763" dir="2700000" algn="ctr" rotWithShape="0">
                <a:srgbClr val="808080"/>
              </a:outerShdw>
            </a:effectLst>
          </p:spPr>
          <p:txBody>
            <a:bodyPr/>
            <a:lstStyle/>
            <a:p>
              <a:pPr>
                <a:defRPr/>
              </a:pPr>
              <a:r>
                <a:rPr lang="en-US" sz="1100" dirty="0">
                  <a:cs typeface="+mn-cs"/>
                </a:rPr>
                <a:t> </a:t>
              </a:r>
              <a:r>
                <a:rPr lang="en-US" sz="1100" dirty="0">
                  <a:solidFill>
                    <a:srgbClr val="FF0066"/>
                  </a:solidFill>
                  <a:cs typeface="+mn-cs"/>
                </a:rPr>
                <a:t>Data from multiple sources is integrated for a subject</a:t>
              </a:r>
            </a:p>
          </p:txBody>
        </p:sp>
        <p:sp>
          <p:nvSpPr>
            <p:cNvPr id="17" name="AutoShape 27"/>
            <p:cNvSpPr>
              <a:spLocks noChangeArrowheads="1"/>
            </p:cNvSpPr>
            <p:nvPr/>
          </p:nvSpPr>
          <p:spPr bwMode="auto">
            <a:xfrm>
              <a:off x="4704" y="1488"/>
              <a:ext cx="240" cy="144"/>
            </a:xfrm>
            <a:prstGeom prst="flowChartConnector">
              <a:avLst/>
            </a:prstGeom>
            <a:solidFill>
              <a:srgbClr val="FFCC99"/>
            </a:solidFill>
            <a:ln w="9525">
              <a:noFill/>
              <a:round/>
              <a:headEnd/>
              <a:tailEnd/>
            </a:ln>
          </p:spPr>
          <p:txBody>
            <a:bodyPr anchor="ctr">
              <a:spAutoFit/>
            </a:bodyPr>
            <a:lstStyle/>
            <a:p>
              <a:endParaRPr lang="en-US"/>
            </a:p>
          </p:txBody>
        </p:sp>
        <p:sp>
          <p:nvSpPr>
            <p:cNvPr id="18" name="AutoShape 28"/>
            <p:cNvSpPr>
              <a:spLocks noChangeArrowheads="1"/>
            </p:cNvSpPr>
            <p:nvPr/>
          </p:nvSpPr>
          <p:spPr bwMode="auto">
            <a:xfrm>
              <a:off x="4704" y="1680"/>
              <a:ext cx="192" cy="96"/>
            </a:xfrm>
            <a:prstGeom prst="flowChartConnector">
              <a:avLst/>
            </a:prstGeom>
            <a:solidFill>
              <a:srgbClr val="FFCC99"/>
            </a:solidFill>
            <a:ln w="9525">
              <a:noFill/>
              <a:round/>
              <a:headEnd/>
              <a:tailEnd/>
            </a:ln>
          </p:spPr>
          <p:txBody>
            <a:bodyPr anchor="ctr">
              <a:spAutoFit/>
            </a:bodyPr>
            <a:lstStyle/>
            <a:p>
              <a:endParaRPr lang="en-US"/>
            </a:p>
          </p:txBody>
        </p:sp>
      </p:grpSp>
      <p:grpSp>
        <p:nvGrpSpPr>
          <p:cNvPr id="19" name="Group 31"/>
          <p:cNvGrpSpPr>
            <a:grpSpLocks/>
          </p:cNvGrpSpPr>
          <p:nvPr/>
        </p:nvGrpSpPr>
        <p:grpSpPr bwMode="auto">
          <a:xfrm>
            <a:off x="0" y="3662362"/>
            <a:ext cx="2362200" cy="2039938"/>
            <a:chOff x="0" y="2256"/>
            <a:chExt cx="1488" cy="1285"/>
          </a:xfrm>
        </p:grpSpPr>
        <p:sp>
          <p:nvSpPr>
            <p:cNvPr id="20" name="Cloud"/>
            <p:cNvSpPr>
              <a:spLocks noChangeAspect="1" noEditPoints="1" noChangeArrowheads="1"/>
            </p:cNvSpPr>
            <p:nvPr/>
          </p:nvSpPr>
          <p:spPr bwMode="auto">
            <a:xfrm>
              <a:off x="0" y="2544"/>
              <a:ext cx="1488" cy="997"/>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BE7D"/>
            </a:solidFill>
            <a:ln w="9525">
              <a:solidFill>
                <a:srgbClr val="000000"/>
              </a:solidFill>
              <a:miter lim="800000"/>
              <a:headEnd/>
              <a:tailEnd/>
            </a:ln>
            <a:effectLst>
              <a:outerShdw dist="107763" dir="2700000" algn="ctr" rotWithShape="0">
                <a:srgbClr val="808080"/>
              </a:outerShdw>
            </a:effectLst>
          </p:spPr>
          <p:txBody>
            <a:bodyPr/>
            <a:lstStyle/>
            <a:p>
              <a:pPr>
                <a:defRPr/>
              </a:pPr>
              <a:r>
                <a:rPr lang="en-US" sz="1100" dirty="0">
                  <a:solidFill>
                    <a:srgbClr val="339966"/>
                  </a:solidFill>
                  <a:cs typeface="+mn-cs"/>
                </a:rPr>
                <a:t>Identical queries will give same  results at different times. Supports analysis requiring historical data</a:t>
              </a:r>
            </a:p>
          </p:txBody>
        </p:sp>
        <p:sp>
          <p:nvSpPr>
            <p:cNvPr id="21" name="AutoShape 29"/>
            <p:cNvSpPr>
              <a:spLocks noChangeArrowheads="1"/>
            </p:cNvSpPr>
            <p:nvPr/>
          </p:nvSpPr>
          <p:spPr bwMode="auto">
            <a:xfrm>
              <a:off x="624" y="2400"/>
              <a:ext cx="240" cy="144"/>
            </a:xfrm>
            <a:prstGeom prst="flowChartConnector">
              <a:avLst/>
            </a:prstGeom>
            <a:solidFill>
              <a:srgbClr val="FFCC99"/>
            </a:solidFill>
            <a:ln w="9525">
              <a:noFill/>
              <a:round/>
              <a:headEnd/>
              <a:tailEnd/>
            </a:ln>
          </p:spPr>
          <p:txBody>
            <a:bodyPr anchor="ctr">
              <a:spAutoFit/>
            </a:bodyPr>
            <a:lstStyle/>
            <a:p>
              <a:endParaRPr lang="en-US"/>
            </a:p>
          </p:txBody>
        </p:sp>
        <p:sp>
          <p:nvSpPr>
            <p:cNvPr id="22" name="AutoShape 30"/>
            <p:cNvSpPr>
              <a:spLocks noChangeArrowheads="1"/>
            </p:cNvSpPr>
            <p:nvPr/>
          </p:nvSpPr>
          <p:spPr bwMode="auto">
            <a:xfrm>
              <a:off x="624" y="2256"/>
              <a:ext cx="192" cy="96"/>
            </a:xfrm>
            <a:prstGeom prst="flowChartConnector">
              <a:avLst/>
            </a:prstGeom>
            <a:solidFill>
              <a:srgbClr val="FFCC99"/>
            </a:solidFill>
            <a:ln w="9525">
              <a:noFill/>
              <a:round/>
              <a:headEnd/>
              <a:tailEnd/>
            </a:ln>
          </p:spPr>
          <p:txBody>
            <a:bodyPr anchor="ctr">
              <a:spAutoFit/>
            </a:bodyPr>
            <a:lstStyle/>
            <a:p>
              <a:endParaRPr lang="en-US"/>
            </a:p>
          </p:txBody>
        </p:sp>
      </p:grpSp>
      <p:pic>
        <p:nvPicPr>
          <p:cNvPr id="23" name="Picture 5" descr="Inmon"/>
          <p:cNvPicPr>
            <a:picLocks noChangeAspect="1" noChangeArrowheads="1"/>
          </p:cNvPicPr>
          <p:nvPr/>
        </p:nvPicPr>
        <p:blipFill>
          <a:blip r:embed="rId2"/>
          <a:srcRect/>
          <a:stretch>
            <a:fillRect/>
          </a:stretch>
        </p:blipFill>
        <p:spPr bwMode="auto">
          <a:xfrm>
            <a:off x="762000" y="1219200"/>
            <a:ext cx="1052513" cy="1319213"/>
          </a:xfrm>
          <a:prstGeom prst="rect">
            <a:avLst/>
          </a:prstGeom>
          <a:noFill/>
          <a:ln w="9525">
            <a:noFill/>
            <a:miter lim="800000"/>
            <a:headEnd/>
            <a:tailEnd/>
          </a:ln>
        </p:spPr>
      </p:pic>
      <p:sp>
        <p:nvSpPr>
          <p:cNvPr id="30" name="Rectangle 10">
            <a:extLst>
              <a:ext uri="{FF2B5EF4-FFF2-40B4-BE49-F238E27FC236}">
                <a16:creationId xmlns:a16="http://schemas.microsoft.com/office/drawing/2014/main" id="{B9FB5AE9-63BD-42BC-9FE8-8F863B918EF4}"/>
              </a:ext>
            </a:extLst>
          </p:cNvPr>
          <p:cNvSpPr txBox="1">
            <a:spLocks noChangeArrowheads="1"/>
          </p:cNvSpPr>
          <p:nvPr/>
        </p:nvSpPr>
        <p:spPr bwMode="auto">
          <a:xfrm>
            <a:off x="-191762" y="2239168"/>
            <a:ext cx="8991600" cy="31511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
                <a:srgbClr val="EFAA2D"/>
              </a:buClr>
              <a:buSzTx/>
              <a:buFontTx/>
              <a:buNone/>
              <a:tabLst/>
              <a:defRPr/>
            </a:pPr>
            <a:endParaRPr kumimoji="0" lang="en-US" sz="2400" b="1" i="0" u="none" strike="noStrike" kern="0" cap="none" spc="0" normalizeH="0" baseline="0" noProof="0" dirty="0">
              <a:ln>
                <a:noFill/>
              </a:ln>
              <a:solidFill>
                <a:srgbClr val="1F2B35"/>
              </a:solidFill>
              <a:effectLst/>
              <a:uLnTx/>
              <a:uFillTx/>
              <a:latin typeface="+mn-lt"/>
              <a:ea typeface="+mn-ea"/>
              <a:cs typeface="+mn-cs"/>
            </a:endParaRPr>
          </a:p>
          <a:p>
            <a:pPr marL="342900" marR="0" lvl="0" indent="-342900" algn="ctr" defTabSz="914400" rtl="0" eaLnBrk="0" fontAlgn="base" latinLnBrk="0" hangingPunct="0">
              <a:lnSpc>
                <a:spcPct val="100000"/>
              </a:lnSpc>
              <a:spcBef>
                <a:spcPct val="20000"/>
              </a:spcBef>
              <a:spcAft>
                <a:spcPct val="0"/>
              </a:spcAft>
              <a:buClr>
                <a:srgbClr val="EFAA2D"/>
              </a:buClr>
              <a:buSzTx/>
              <a:buFont typeface="Wingdings" pitchFamily="2" charset="2"/>
              <a:buNone/>
              <a:tabLst/>
              <a:defRPr/>
            </a:pPr>
            <a:r>
              <a:rPr kumimoji="0" lang="en-US" sz="2400" b="0" i="1" u="none" strike="noStrike" kern="0" cap="none" spc="0" normalizeH="0" baseline="0" noProof="0" dirty="0">
                <a:ln>
                  <a:noFill/>
                </a:ln>
                <a:solidFill>
                  <a:srgbClr val="1F2B35"/>
                </a:solidFill>
                <a:effectLst/>
                <a:uLnTx/>
                <a:uFillTx/>
                <a:latin typeface="+mn-lt"/>
                <a:ea typeface="+mn-ea"/>
                <a:cs typeface="+mn-cs"/>
              </a:rPr>
              <a:t>A data warehouse is a </a:t>
            </a:r>
            <a:r>
              <a:rPr kumimoji="0" lang="en-US" sz="2400" b="0" i="1" u="sng" strike="noStrike" kern="0" cap="none" spc="0" normalizeH="0" baseline="0" noProof="0" dirty="0">
                <a:ln>
                  <a:noFill/>
                </a:ln>
                <a:solidFill>
                  <a:schemeClr val="accent2"/>
                </a:solidFill>
                <a:effectLst/>
                <a:uLnTx/>
                <a:uFillTx/>
                <a:latin typeface="+mn-lt"/>
                <a:ea typeface="+mn-ea"/>
                <a:cs typeface="+mn-cs"/>
              </a:rPr>
              <a:t>subject-oriented,</a:t>
            </a:r>
            <a:r>
              <a:rPr kumimoji="0" lang="en-US" sz="2400" b="0" i="1" u="none" strike="noStrike" kern="0" cap="none" spc="0" normalizeH="0" baseline="0" noProof="0" dirty="0">
                <a:ln>
                  <a:noFill/>
                </a:ln>
                <a:solidFill>
                  <a:srgbClr val="1F2B35"/>
                </a:solidFill>
                <a:effectLst/>
                <a:uLnTx/>
                <a:uFillTx/>
                <a:latin typeface="+mn-lt"/>
                <a:ea typeface="+mn-ea"/>
                <a:cs typeface="+mn-cs"/>
              </a:rPr>
              <a:t> </a:t>
            </a:r>
            <a:r>
              <a:rPr kumimoji="0" lang="en-US" sz="2400" b="0" i="1" u="sng" strike="noStrike" kern="0" cap="none" spc="0" normalizeH="0" baseline="0" noProof="0" dirty="0">
                <a:ln>
                  <a:noFill/>
                </a:ln>
                <a:solidFill>
                  <a:srgbClr val="FF0066"/>
                </a:solidFill>
                <a:effectLst/>
                <a:uLnTx/>
                <a:uFillTx/>
                <a:latin typeface="+mn-lt"/>
                <a:ea typeface="+mn-ea"/>
                <a:cs typeface="+mn-cs"/>
              </a:rPr>
              <a:t>integrated,</a:t>
            </a:r>
            <a:r>
              <a:rPr kumimoji="0" lang="en-US" sz="2400" b="0" i="1" u="none" strike="noStrike" kern="0" cap="none" spc="0" normalizeH="0" baseline="0" noProof="0" dirty="0">
                <a:ln>
                  <a:noFill/>
                </a:ln>
                <a:solidFill>
                  <a:srgbClr val="1F2B35"/>
                </a:solidFill>
                <a:effectLst/>
                <a:uLnTx/>
                <a:uFillTx/>
                <a:latin typeface="+mn-lt"/>
                <a:ea typeface="+mn-ea"/>
                <a:cs typeface="+mn-cs"/>
              </a:rPr>
              <a:t>  </a:t>
            </a:r>
            <a:r>
              <a:rPr kumimoji="0" lang="en-US" sz="2400" b="0" i="1" u="sng" strike="noStrike" kern="0" cap="none" spc="0" normalizeH="0" baseline="0" noProof="0" dirty="0">
                <a:ln>
                  <a:noFill/>
                </a:ln>
                <a:solidFill>
                  <a:srgbClr val="00FF00"/>
                </a:solidFill>
                <a:effectLst/>
                <a:uLnTx/>
                <a:uFillTx/>
                <a:latin typeface="+mn-lt"/>
                <a:ea typeface="+mn-ea"/>
                <a:cs typeface="+mn-cs"/>
              </a:rPr>
              <a:t>nonvolatile,</a:t>
            </a:r>
            <a:r>
              <a:rPr kumimoji="0" lang="en-US" sz="2400" b="0" i="1" u="none" strike="noStrike" kern="0" cap="none" spc="0" normalizeH="0" baseline="0" noProof="0" dirty="0">
                <a:ln>
                  <a:noFill/>
                </a:ln>
                <a:solidFill>
                  <a:srgbClr val="1F2B35"/>
                </a:solidFill>
                <a:effectLst/>
                <a:uLnTx/>
                <a:uFillTx/>
                <a:latin typeface="+mn-lt"/>
                <a:ea typeface="+mn-ea"/>
                <a:cs typeface="+mn-cs"/>
              </a:rPr>
              <a:t> </a:t>
            </a:r>
          </a:p>
          <a:p>
            <a:pPr marL="342900" marR="0" lvl="0" indent="-342900" algn="ctr" defTabSz="914400" rtl="0" eaLnBrk="0" fontAlgn="base" latinLnBrk="0" hangingPunct="0">
              <a:lnSpc>
                <a:spcPct val="100000"/>
              </a:lnSpc>
              <a:spcBef>
                <a:spcPct val="20000"/>
              </a:spcBef>
              <a:spcAft>
                <a:spcPct val="0"/>
              </a:spcAft>
              <a:buClr>
                <a:srgbClr val="EFAA2D"/>
              </a:buClr>
              <a:buSzTx/>
              <a:buFont typeface="Wingdings" pitchFamily="2" charset="2"/>
              <a:buNone/>
              <a:tabLst/>
              <a:defRPr/>
            </a:pPr>
            <a:r>
              <a:rPr kumimoji="0" lang="en-US" sz="2400" b="0" i="1" u="sng" strike="noStrike" kern="0" cap="none" spc="0" normalizeH="0" baseline="0" noProof="0" dirty="0">
                <a:ln>
                  <a:noFill/>
                </a:ln>
                <a:solidFill>
                  <a:srgbClr val="FF66FF"/>
                </a:solidFill>
                <a:effectLst/>
                <a:uLnTx/>
                <a:uFillTx/>
                <a:latin typeface="+mn-lt"/>
                <a:ea typeface="+mn-ea"/>
                <a:cs typeface="+mn-cs"/>
              </a:rPr>
              <a:t>time-variant</a:t>
            </a:r>
            <a:r>
              <a:rPr kumimoji="0" lang="en-US" sz="2400" b="0" i="1" u="none" strike="noStrike" kern="0" cap="none" spc="0" normalizeH="0" baseline="0" noProof="0" dirty="0">
                <a:ln>
                  <a:noFill/>
                </a:ln>
                <a:solidFill>
                  <a:srgbClr val="1F2B35"/>
                </a:solidFill>
                <a:effectLst/>
                <a:uLnTx/>
                <a:uFillTx/>
                <a:latin typeface="+mn-lt"/>
                <a:ea typeface="+mn-ea"/>
                <a:cs typeface="+mn-cs"/>
              </a:rPr>
              <a:t> collection of data in support of management's decisions. </a:t>
            </a:r>
          </a:p>
          <a:p>
            <a:pPr marL="342900" marR="0" lvl="0" indent="-342900" algn="ctr" defTabSz="914400" rtl="0" eaLnBrk="0" fontAlgn="base" latinLnBrk="0" hangingPunct="0">
              <a:lnSpc>
                <a:spcPct val="100000"/>
              </a:lnSpc>
              <a:spcBef>
                <a:spcPct val="20000"/>
              </a:spcBef>
              <a:spcAft>
                <a:spcPct val="0"/>
              </a:spcAft>
              <a:buClr>
                <a:srgbClr val="EFAA2D"/>
              </a:buClr>
              <a:buSzTx/>
              <a:buFont typeface="Wingdings" pitchFamily="2" charset="2"/>
              <a:buNone/>
              <a:tabLst/>
              <a:defRPr/>
            </a:pPr>
            <a:r>
              <a:rPr kumimoji="0" lang="en-US" sz="2400" b="0" i="1" u="none" strike="noStrike" kern="0" cap="none" spc="0" normalizeH="0" baseline="0" noProof="0" dirty="0">
                <a:ln>
                  <a:noFill/>
                </a:ln>
                <a:solidFill>
                  <a:srgbClr val="1F2B35"/>
                </a:solidFill>
                <a:effectLst/>
                <a:uLnTx/>
                <a:uFillTx/>
                <a:latin typeface="+mn-lt"/>
                <a:ea typeface="+mn-ea"/>
                <a:cs typeface="+mn-cs"/>
              </a:rPr>
              <a:t>- WH </a:t>
            </a:r>
            <a:r>
              <a:rPr kumimoji="0" lang="en-US" sz="2400" b="0" i="1" u="none" strike="noStrike" kern="0" cap="none" spc="0" normalizeH="0" baseline="0" noProof="0" dirty="0" err="1">
                <a:ln>
                  <a:noFill/>
                </a:ln>
                <a:solidFill>
                  <a:srgbClr val="1F2B35"/>
                </a:solidFill>
                <a:effectLst/>
                <a:uLnTx/>
                <a:uFillTx/>
                <a:latin typeface="+mn-lt"/>
                <a:ea typeface="+mn-ea"/>
                <a:cs typeface="+mn-cs"/>
              </a:rPr>
              <a:t>Inmon</a:t>
            </a:r>
            <a:endParaRPr kumimoji="0" lang="en-US" sz="2400" b="0" i="1" u="none" strike="noStrike" kern="0" cap="none" spc="0" normalizeH="0" baseline="0" noProof="0" dirty="0">
              <a:ln>
                <a:noFill/>
              </a:ln>
              <a:solidFill>
                <a:srgbClr val="1F2B35"/>
              </a:solidFill>
              <a:effectLst/>
              <a:uLnTx/>
              <a:uFillTx/>
              <a:latin typeface="+mn-lt"/>
              <a:ea typeface="+mn-ea"/>
              <a:cs typeface="+mn-cs"/>
            </a:endParaRPr>
          </a:p>
        </p:txBody>
      </p:sp>
    </p:spTree>
    <p:extLst>
      <p:ext uri="{BB962C8B-B14F-4D97-AF65-F5344CB8AC3E}">
        <p14:creationId xmlns:p14="http://schemas.microsoft.com/office/powerpoint/2010/main" val="417110118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0-#ppt_w/2"/>
                                          </p:val>
                                        </p:tav>
                                        <p:tav tm="100000">
                                          <p:val>
                                            <p:strVal val="#ppt_x"/>
                                          </p:val>
                                        </p:tav>
                                      </p:tavLst>
                                    </p:anim>
                                    <p:anim calcmode="lin" valueType="num">
                                      <p:cBhvr additive="base">
                                        <p:cTn id="14"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0-#ppt_w/2"/>
                                          </p:val>
                                        </p:tav>
                                        <p:tav tm="100000">
                                          <p:val>
                                            <p:strVal val="#ppt_x"/>
                                          </p:val>
                                        </p:tav>
                                      </p:tavLst>
                                    </p:anim>
                                    <p:anim calcmode="lin" valueType="num">
                                      <p:cBhvr additive="base">
                                        <p:cTn id="20"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0-#ppt_w/2"/>
                                          </p:val>
                                        </p:tav>
                                        <p:tav tm="100000">
                                          <p:val>
                                            <p:strVal val="#ppt_x"/>
                                          </p:val>
                                        </p:tav>
                                      </p:tavLst>
                                    </p:anim>
                                    <p:anim calcmode="lin" valueType="num">
                                      <p:cBhvr additive="base">
                                        <p:cTn id="26"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65253" y="457200"/>
            <a:ext cx="8439150" cy="757255"/>
          </a:xfrm>
        </p:spPr>
        <p:txBody>
          <a:bodyPr/>
          <a:lstStyle/>
          <a:p>
            <a:r>
              <a:rPr lang="en-US" sz="2800" b="1" dirty="0">
                <a:solidFill>
                  <a:schemeClr val="tx1"/>
                </a:solidFill>
              </a:rPr>
              <a:t>Junk Dimension</a:t>
            </a:r>
          </a:p>
        </p:txBody>
      </p:sp>
      <p:sp>
        <p:nvSpPr>
          <p:cNvPr id="4" name="Text Box 2"/>
          <p:cNvSpPr txBox="1">
            <a:spLocks noChangeArrowheads="1"/>
          </p:cNvSpPr>
          <p:nvPr/>
        </p:nvSpPr>
        <p:spPr bwMode="auto">
          <a:xfrm>
            <a:off x="145972" y="984150"/>
            <a:ext cx="8693227" cy="2811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b="1">
                <a:solidFill>
                  <a:schemeClr val="tx1"/>
                </a:solidFill>
                <a:latin typeface="Arial" panose="020B0604020202020204" pitchFamily="34" charset="0"/>
              </a:defRPr>
            </a:lvl1pPr>
            <a:lvl2pPr marL="203200" indent="-20320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marL="285750" indent="-285750">
              <a:buClr>
                <a:srgbClr val="92D050"/>
              </a:buClr>
              <a:buFont typeface="Wingdings" panose="05000000000000000000" pitchFamily="2" charset="2"/>
              <a:buChar char="§"/>
              <a:defRPr/>
            </a:pPr>
            <a:endParaRPr lang="en-US" altLang="en-US" sz="1800" u="sng" dirty="0"/>
          </a:p>
          <a:p>
            <a:pPr marL="285750" lvl="1" indent="-285750" algn="just">
              <a:lnSpc>
                <a:spcPct val="150000"/>
              </a:lnSpc>
              <a:buClr>
                <a:srgbClr val="92D050"/>
              </a:buClr>
              <a:buSzPct val="100000"/>
              <a:buFont typeface="Wingdings" panose="05000000000000000000" pitchFamily="2" charset="2"/>
              <a:buChar char="§"/>
              <a:defRPr/>
            </a:pPr>
            <a:r>
              <a:rPr lang="en-US" altLang="en-US" sz="1800" b="0" dirty="0"/>
              <a:t> A dimension where one can store random transactional codes, flags and text attributes that are not related to other dimensions and which provides a simple way for users to easily find those unrelated attributes.</a:t>
            </a:r>
          </a:p>
          <a:p>
            <a:pPr marL="285750" indent="-285750" algn="just">
              <a:lnSpc>
                <a:spcPct val="150000"/>
              </a:lnSpc>
              <a:buClr>
                <a:srgbClr val="92D050"/>
              </a:buClr>
              <a:buFont typeface="Wingdings" panose="05000000000000000000" pitchFamily="2" charset="2"/>
              <a:buChar char="§"/>
              <a:defRPr/>
            </a:pPr>
            <a:endParaRPr lang="en-US" altLang="en-US" sz="1800" b="0" dirty="0"/>
          </a:p>
          <a:p>
            <a:pPr marL="285750" lvl="1" indent="-285750" algn="just">
              <a:lnSpc>
                <a:spcPct val="150000"/>
              </a:lnSpc>
              <a:buClr>
                <a:srgbClr val="92D050"/>
              </a:buClr>
              <a:buSzPct val="100000"/>
              <a:buFont typeface="Wingdings" panose="05000000000000000000" pitchFamily="2" charset="2"/>
              <a:buChar char="§"/>
              <a:defRPr/>
            </a:pPr>
            <a:r>
              <a:rPr lang="en-US" altLang="en-US" sz="1800" b="0" dirty="0"/>
              <a:t>Ex: Martial Status : (Yes or No)</a:t>
            </a:r>
          </a:p>
          <a:p>
            <a:pPr algn="just">
              <a:lnSpc>
                <a:spcPct val="150000"/>
              </a:lnSpc>
              <a:buClr>
                <a:srgbClr val="92D050"/>
              </a:buClr>
              <a:defRPr/>
            </a:pPr>
            <a:r>
              <a:rPr lang="en-US" altLang="en-US" sz="1800" b="0" dirty="0"/>
              <a:t>     Gender : (M or F) etc.</a:t>
            </a:r>
          </a:p>
        </p:txBody>
      </p:sp>
      <p:pic>
        <p:nvPicPr>
          <p:cNvPr id="5" name="DeloitteW">
            <a:extLst>
              <a:ext uri="{FF2B5EF4-FFF2-40B4-BE49-F238E27FC236}">
                <a16:creationId xmlns:a16="http://schemas.microsoft.com/office/drawing/2014/main" id="{3CB1DBEC-3470-4E7F-A845-208029A9FF1F}"/>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Tree>
    <p:extLst>
      <p:ext uri="{BB962C8B-B14F-4D97-AF65-F5344CB8AC3E}">
        <p14:creationId xmlns:p14="http://schemas.microsoft.com/office/powerpoint/2010/main" val="339440641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67635" y="184667"/>
            <a:ext cx="8411852" cy="595313"/>
          </a:xfrm>
        </p:spPr>
        <p:txBody>
          <a:bodyPr/>
          <a:lstStyle/>
          <a:p>
            <a:r>
              <a:rPr lang="en-US" sz="2800" b="1" dirty="0">
                <a:latin typeface="Arial" panose="020B0604020202020204" pitchFamily="34" charset="0"/>
                <a:cs typeface="Arial" panose="020B0604020202020204" pitchFamily="34" charset="0"/>
              </a:rPr>
              <a:t>Slowly Changing Dimensions Type 1</a:t>
            </a:r>
          </a:p>
        </p:txBody>
      </p:sp>
      <p:sp>
        <p:nvSpPr>
          <p:cNvPr id="7" name="Rectangle 3">
            <a:extLst>
              <a:ext uri="{FF2B5EF4-FFF2-40B4-BE49-F238E27FC236}">
                <a16:creationId xmlns:a16="http://schemas.microsoft.com/office/drawing/2014/main" id="{B81A513D-FA8A-41C2-B3F2-BF76EF973DB5}"/>
              </a:ext>
            </a:extLst>
          </p:cNvPr>
          <p:cNvSpPr>
            <a:spLocks noGrp="1" noChangeArrowheads="1"/>
          </p:cNvSpPr>
          <p:nvPr>
            <p:ph idx="1"/>
          </p:nvPr>
        </p:nvSpPr>
        <p:spPr>
          <a:xfrm>
            <a:off x="168275" y="815975"/>
            <a:ext cx="8410575" cy="6296025"/>
          </a:xfrm>
          <a:noFill/>
        </p:spPr>
        <p:txBody>
          <a:bodyPr/>
          <a:lstStyle/>
          <a:p>
            <a:pPr marL="342900" indent="-342900" eaLnBrk="0" hangingPunct="0">
              <a:lnSpc>
                <a:spcPct val="120000"/>
              </a:lnSpc>
              <a:spcBef>
                <a:spcPct val="80000"/>
              </a:spcBef>
              <a:buClr>
                <a:srgbClr val="FA9819"/>
              </a:buClr>
              <a:buNone/>
            </a:pPr>
            <a:r>
              <a:rPr lang="en-US" sz="1200" dirty="0"/>
              <a:t>The first picture depicts the state of SCD before change</a:t>
            </a:r>
          </a:p>
          <a:p>
            <a:pPr marL="342900" lvl="0" indent="-342900" eaLnBrk="0" hangingPunct="0">
              <a:lnSpc>
                <a:spcPct val="120000"/>
              </a:lnSpc>
              <a:spcBef>
                <a:spcPct val="80000"/>
              </a:spcBef>
              <a:buClr>
                <a:srgbClr val="FA9819"/>
              </a:buClr>
              <a:buNone/>
            </a:pPr>
            <a:endParaRPr lang="en-US" sz="1200" dirty="0">
              <a:solidFill>
                <a:srgbClr val="000000"/>
              </a:solidFill>
              <a:latin typeface="Trebuchet MS"/>
            </a:endParaRPr>
          </a:p>
          <a:p>
            <a:pPr marL="342900" lvl="0" indent="-342900" eaLnBrk="0" hangingPunct="0">
              <a:lnSpc>
                <a:spcPct val="120000"/>
              </a:lnSpc>
              <a:spcBef>
                <a:spcPct val="80000"/>
              </a:spcBef>
              <a:buClr>
                <a:srgbClr val="FA9819"/>
              </a:buClr>
              <a:buNone/>
            </a:pPr>
            <a:endParaRPr lang="en-US" sz="1200" dirty="0">
              <a:solidFill>
                <a:srgbClr val="000000"/>
              </a:solidFill>
              <a:latin typeface="Trebuchet MS"/>
            </a:endParaRPr>
          </a:p>
          <a:p>
            <a:pPr marL="342900" lvl="0" indent="-342900" eaLnBrk="0" hangingPunct="0">
              <a:lnSpc>
                <a:spcPct val="120000"/>
              </a:lnSpc>
              <a:spcBef>
                <a:spcPct val="80000"/>
              </a:spcBef>
              <a:buClr>
                <a:srgbClr val="FA9819"/>
              </a:buClr>
              <a:buNone/>
            </a:pPr>
            <a:endParaRPr lang="en-US" sz="1200" dirty="0">
              <a:solidFill>
                <a:srgbClr val="000000"/>
              </a:solidFill>
              <a:latin typeface="Trebuchet MS"/>
            </a:endParaRPr>
          </a:p>
          <a:p>
            <a:pPr marL="342900" lvl="0" indent="-342900" eaLnBrk="0" hangingPunct="0">
              <a:lnSpc>
                <a:spcPct val="120000"/>
              </a:lnSpc>
              <a:spcBef>
                <a:spcPct val="80000"/>
              </a:spcBef>
              <a:buClr>
                <a:srgbClr val="FA9819"/>
              </a:buClr>
              <a:buNone/>
            </a:pPr>
            <a:endParaRPr lang="en-US" sz="1200" dirty="0">
              <a:solidFill>
                <a:srgbClr val="000000"/>
              </a:solidFill>
              <a:latin typeface="Trebuchet MS"/>
            </a:endParaRPr>
          </a:p>
          <a:p>
            <a:pPr marL="342900" lvl="0" indent="-342900" eaLnBrk="0" hangingPunct="0">
              <a:lnSpc>
                <a:spcPct val="120000"/>
              </a:lnSpc>
              <a:spcBef>
                <a:spcPct val="80000"/>
              </a:spcBef>
              <a:buClr>
                <a:srgbClr val="FA9819"/>
              </a:buClr>
              <a:buNone/>
            </a:pPr>
            <a:r>
              <a:rPr lang="en-US" sz="1400" dirty="0">
                <a:solidFill>
                  <a:srgbClr val="000000"/>
                </a:solidFill>
                <a:latin typeface="Arial" panose="020B0604020202020204" pitchFamily="34" charset="0"/>
                <a:cs typeface="Arial" panose="020B0604020202020204" pitchFamily="34" charset="0"/>
              </a:rPr>
              <a:t>In type 1 SCD the existing row in the dimension table is updated  with the new value</a:t>
            </a:r>
          </a:p>
          <a:p>
            <a:pPr marL="342900" lvl="0" indent="-342900" eaLnBrk="0" hangingPunct="0">
              <a:lnSpc>
                <a:spcPct val="120000"/>
              </a:lnSpc>
              <a:spcBef>
                <a:spcPct val="80000"/>
              </a:spcBef>
              <a:buClr>
                <a:srgbClr val="FA9819"/>
              </a:buClr>
              <a:buNone/>
            </a:pPr>
            <a:r>
              <a:rPr lang="en-US" sz="1400" dirty="0">
                <a:solidFill>
                  <a:srgbClr val="000000"/>
                </a:solidFill>
                <a:latin typeface="Arial" panose="020B0604020202020204" pitchFamily="34" charset="0"/>
                <a:cs typeface="Arial" panose="020B0604020202020204" pitchFamily="34" charset="0"/>
              </a:rPr>
              <a:t>Note the fact that the product key has not changed even if the department changes</a:t>
            </a:r>
          </a:p>
          <a:p>
            <a:pPr marL="342900" lvl="0" indent="-342900" eaLnBrk="0" hangingPunct="0">
              <a:lnSpc>
                <a:spcPct val="120000"/>
              </a:lnSpc>
              <a:spcBef>
                <a:spcPct val="80000"/>
              </a:spcBef>
              <a:buClr>
                <a:srgbClr val="FA9819"/>
              </a:buClr>
              <a:buNone/>
            </a:pPr>
            <a:r>
              <a:rPr lang="en-US" sz="1400" dirty="0">
                <a:solidFill>
                  <a:srgbClr val="000000"/>
                </a:solidFill>
                <a:latin typeface="Arial" panose="020B0604020202020204" pitchFamily="34" charset="0"/>
                <a:cs typeface="Arial" panose="020B0604020202020204" pitchFamily="34" charset="0"/>
              </a:rPr>
              <a:t>What are the advantages of SCD Type 1?</a:t>
            </a:r>
          </a:p>
          <a:p>
            <a:pPr marL="342900" lvl="0" indent="-342900" eaLnBrk="0" hangingPunct="0">
              <a:lnSpc>
                <a:spcPct val="120000"/>
              </a:lnSpc>
              <a:spcBef>
                <a:spcPct val="80000"/>
              </a:spcBef>
              <a:buClr>
                <a:srgbClr val="FA9819"/>
              </a:buClr>
              <a:buNone/>
            </a:pPr>
            <a:r>
              <a:rPr lang="en-US" sz="1400" dirty="0">
                <a:solidFill>
                  <a:srgbClr val="000000"/>
                </a:solidFill>
                <a:latin typeface="Arial" panose="020B0604020202020204" pitchFamily="34" charset="0"/>
                <a:cs typeface="Arial" panose="020B0604020202020204" pitchFamily="34" charset="0"/>
              </a:rPr>
              <a:t>Easy to implement the change in attribute is easy – Simple update.</a:t>
            </a:r>
          </a:p>
          <a:p>
            <a:pPr marL="342900" lvl="0" indent="-342900" eaLnBrk="0" hangingPunct="0">
              <a:lnSpc>
                <a:spcPct val="120000"/>
              </a:lnSpc>
              <a:spcBef>
                <a:spcPct val="80000"/>
              </a:spcBef>
              <a:buClr>
                <a:srgbClr val="FA9819"/>
              </a:buClr>
              <a:buNone/>
            </a:pPr>
            <a:r>
              <a:rPr lang="en-US" sz="1400" dirty="0">
                <a:solidFill>
                  <a:srgbClr val="000000"/>
                </a:solidFill>
                <a:latin typeface="Arial" panose="020B0604020202020204" pitchFamily="34" charset="0"/>
                <a:cs typeface="Arial" panose="020B0604020202020204" pitchFamily="34" charset="0"/>
              </a:rPr>
              <a:t>What are the disadvantages of SCD Type 1?</a:t>
            </a:r>
          </a:p>
          <a:p>
            <a:pPr marL="342900" lvl="0" indent="-342900" eaLnBrk="0" hangingPunct="0">
              <a:lnSpc>
                <a:spcPct val="120000"/>
              </a:lnSpc>
              <a:spcBef>
                <a:spcPct val="80000"/>
              </a:spcBef>
              <a:buClr>
                <a:srgbClr val="FA9819"/>
              </a:buClr>
              <a:buNone/>
            </a:pPr>
            <a:r>
              <a:rPr lang="en-US" sz="1400" dirty="0">
                <a:solidFill>
                  <a:srgbClr val="000000"/>
                </a:solidFill>
                <a:latin typeface="Arial" panose="020B0604020202020204" pitchFamily="34" charset="0"/>
                <a:cs typeface="Arial" panose="020B0604020202020204" pitchFamily="34" charset="0"/>
              </a:rPr>
              <a:t>We will lose all history of attribute changes</a:t>
            </a:r>
          </a:p>
          <a:p>
            <a:pPr eaLnBrk="1" hangingPunct="1">
              <a:lnSpc>
                <a:spcPct val="90000"/>
              </a:lnSpc>
              <a:defRPr/>
            </a:pPr>
            <a:endParaRPr lang="en-US" dirty="0"/>
          </a:p>
        </p:txBody>
      </p:sp>
      <p:pic>
        <p:nvPicPr>
          <p:cNvPr id="9" name="Picture 8" descr="SCD-Initial.bmp">
            <a:extLst>
              <a:ext uri="{FF2B5EF4-FFF2-40B4-BE49-F238E27FC236}">
                <a16:creationId xmlns:a16="http://schemas.microsoft.com/office/drawing/2014/main" id="{76B82B3F-1667-4143-93C5-A4A95A8C91F6}"/>
              </a:ext>
            </a:extLst>
          </p:cNvPr>
          <p:cNvPicPr>
            <a:picLocks noChangeAspect="1"/>
          </p:cNvPicPr>
          <p:nvPr/>
        </p:nvPicPr>
        <p:blipFill>
          <a:blip r:embed="rId3" cstate="print"/>
          <a:stretch>
            <a:fillRect/>
          </a:stretch>
        </p:blipFill>
        <p:spPr>
          <a:xfrm>
            <a:off x="827638" y="1222676"/>
            <a:ext cx="5419725" cy="695325"/>
          </a:xfrm>
          <a:prstGeom prst="rect">
            <a:avLst/>
          </a:prstGeom>
        </p:spPr>
      </p:pic>
      <p:pic>
        <p:nvPicPr>
          <p:cNvPr id="10" name="Picture 9" descr="SCD-Final.bmp">
            <a:extLst>
              <a:ext uri="{FF2B5EF4-FFF2-40B4-BE49-F238E27FC236}">
                <a16:creationId xmlns:a16="http://schemas.microsoft.com/office/drawing/2014/main" id="{7C935F52-1F8D-43A6-BAA0-688ED7FC4020}"/>
              </a:ext>
            </a:extLst>
          </p:cNvPr>
          <p:cNvPicPr>
            <a:picLocks noChangeAspect="1"/>
          </p:cNvPicPr>
          <p:nvPr/>
        </p:nvPicPr>
        <p:blipFill>
          <a:blip r:embed="rId4" cstate="print"/>
          <a:stretch>
            <a:fillRect/>
          </a:stretch>
        </p:blipFill>
        <p:spPr>
          <a:xfrm>
            <a:off x="685800" y="2467800"/>
            <a:ext cx="5419725" cy="676275"/>
          </a:xfrm>
          <a:prstGeom prst="rect">
            <a:avLst/>
          </a:prstGeom>
        </p:spPr>
      </p:pic>
      <p:sp>
        <p:nvSpPr>
          <p:cNvPr id="11" name="Rectangle 3">
            <a:extLst>
              <a:ext uri="{FF2B5EF4-FFF2-40B4-BE49-F238E27FC236}">
                <a16:creationId xmlns:a16="http://schemas.microsoft.com/office/drawing/2014/main" id="{17CC9679-9402-43D4-A7F3-0D94AF7BA072}"/>
              </a:ext>
            </a:extLst>
          </p:cNvPr>
          <p:cNvSpPr txBox="1">
            <a:spLocks noChangeArrowheads="1"/>
          </p:cNvSpPr>
          <p:nvPr/>
        </p:nvSpPr>
        <p:spPr bwMode="gray">
          <a:xfrm>
            <a:off x="225230" y="2059558"/>
            <a:ext cx="8529522" cy="19813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42900" marR="0" lvl="0" indent="-342900" algn="l" defTabSz="914400" rtl="0" eaLnBrk="0" fontAlgn="base" latinLnBrk="0" hangingPunct="0">
              <a:lnSpc>
                <a:spcPct val="120000"/>
              </a:lnSpc>
              <a:spcBef>
                <a:spcPct val="80000"/>
              </a:spcBef>
              <a:spcAft>
                <a:spcPct val="0"/>
              </a:spcAft>
              <a:buClr>
                <a:srgbClr val="FA9819"/>
              </a:buClr>
              <a:buSzPct val="120000"/>
              <a:buFontTx/>
              <a:buNone/>
              <a:tabLst/>
              <a:defRPr/>
            </a:pPr>
            <a:r>
              <a:rPr lang="en-US" sz="1200" kern="0" baseline="0" dirty="0">
                <a:solidFill>
                  <a:srgbClr val="000000"/>
                </a:solidFill>
                <a:latin typeface="+mn-lt"/>
              </a:rPr>
              <a:t>The company decides to change the department</a:t>
            </a:r>
            <a:endParaRPr kumimoji="0" lang="en-US" sz="1200" b="0" i="0" u="none" strike="noStrike" kern="0" cap="none" spc="0" normalizeH="0" baseline="0" noProof="0" dirty="0">
              <a:ln>
                <a:noFill/>
              </a:ln>
              <a:solidFill>
                <a:srgbClr val="000000"/>
              </a:solidFill>
              <a:effectLst/>
              <a:uLnTx/>
              <a:uFillTx/>
              <a:latin typeface="+mn-lt"/>
              <a:ea typeface="+mn-ea"/>
              <a:cs typeface="+mn-cs"/>
            </a:endParaRPr>
          </a:p>
        </p:txBody>
      </p:sp>
    </p:spTree>
    <p:extLst>
      <p:ext uri="{BB962C8B-B14F-4D97-AF65-F5344CB8AC3E}">
        <p14:creationId xmlns:p14="http://schemas.microsoft.com/office/powerpoint/2010/main" val="12078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20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Effect transition="in" filter="fade">
                                      <p:cBhvr>
                                        <p:cTn id="17" dur="2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400" y="14287"/>
            <a:ext cx="8411852" cy="595313"/>
          </a:xfrm>
        </p:spPr>
        <p:txBody>
          <a:bodyPr/>
          <a:lstStyle/>
          <a:p>
            <a:r>
              <a:rPr lang="en-US" sz="2800" b="1" dirty="0">
                <a:latin typeface="Arial" panose="020B0604020202020204" pitchFamily="34" charset="0"/>
                <a:cs typeface="Arial" panose="020B0604020202020204" pitchFamily="34" charset="0"/>
              </a:rPr>
              <a:t>Slowly Changing Dimensions Type 2</a:t>
            </a:r>
          </a:p>
        </p:txBody>
      </p:sp>
      <p:sp>
        <p:nvSpPr>
          <p:cNvPr id="12" name="Rectangle 3">
            <a:extLst>
              <a:ext uri="{FF2B5EF4-FFF2-40B4-BE49-F238E27FC236}">
                <a16:creationId xmlns:a16="http://schemas.microsoft.com/office/drawing/2014/main" id="{35DE660A-52D2-4E8C-8B9E-740F4DD0204F}"/>
              </a:ext>
            </a:extLst>
          </p:cNvPr>
          <p:cNvSpPr txBox="1">
            <a:spLocks noChangeArrowheads="1"/>
          </p:cNvSpPr>
          <p:nvPr/>
        </p:nvSpPr>
        <p:spPr>
          <a:xfrm>
            <a:off x="350837" y="533400"/>
            <a:ext cx="8793163" cy="6587618"/>
          </a:xfrm>
          <a:prstGeom prst="rect">
            <a:avLst/>
          </a:prstGeom>
          <a:noFill/>
        </p:spPr>
        <p:txBody>
          <a:bodyPr vert="horz" lIns="0" tIns="0" rIns="0" bIns="0" rtlCol="0">
            <a:normAutofit fontScale="25000" lnSpcReduction="20000"/>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90000"/>
              </a:lnSpc>
              <a:defRPr/>
            </a:pPr>
            <a:r>
              <a:rPr lang="en-US" sz="5600" dirty="0">
                <a:solidFill>
                  <a:srgbClr val="000000"/>
                </a:solidFill>
                <a:latin typeface="Arial" panose="020B0604020202020204" pitchFamily="34" charset="0"/>
                <a:cs typeface="Arial" panose="020B0604020202020204" pitchFamily="34" charset="0"/>
              </a:rPr>
              <a:t>The scenario remains the same as in SCD Type1 – It company decided to change the department of a product.</a:t>
            </a:r>
          </a:p>
          <a:p>
            <a:pPr>
              <a:lnSpc>
                <a:spcPct val="90000"/>
              </a:lnSpc>
              <a:defRPr/>
            </a:pPr>
            <a:endParaRPr lang="en-US" sz="5600" dirty="0">
              <a:solidFill>
                <a:srgbClr val="000000"/>
              </a:solidFill>
              <a:latin typeface="Arial" panose="020B0604020202020204" pitchFamily="34" charset="0"/>
              <a:cs typeface="Arial" panose="020B0604020202020204" pitchFamily="34" charset="0"/>
            </a:endParaRPr>
          </a:p>
          <a:p>
            <a:pPr>
              <a:lnSpc>
                <a:spcPct val="90000"/>
              </a:lnSpc>
              <a:defRPr/>
            </a:pPr>
            <a:endParaRPr lang="en-US" sz="5600" dirty="0">
              <a:solidFill>
                <a:srgbClr val="000000"/>
              </a:solidFill>
              <a:latin typeface="Arial" panose="020B0604020202020204" pitchFamily="34" charset="0"/>
              <a:cs typeface="Arial" panose="020B0604020202020204" pitchFamily="34" charset="0"/>
            </a:endParaRPr>
          </a:p>
          <a:p>
            <a:pPr>
              <a:lnSpc>
                <a:spcPct val="120000"/>
              </a:lnSpc>
              <a:defRPr/>
            </a:pPr>
            <a:endParaRPr lang="en-US" sz="5600" dirty="0">
              <a:solidFill>
                <a:srgbClr val="000000"/>
              </a:solidFill>
              <a:latin typeface="Arial" panose="020B0604020202020204" pitchFamily="34" charset="0"/>
              <a:cs typeface="Arial" panose="020B0604020202020204" pitchFamily="34" charset="0"/>
            </a:endParaRPr>
          </a:p>
          <a:p>
            <a:pPr marL="342900" indent="-342900" eaLnBrk="0" hangingPunct="0">
              <a:lnSpc>
                <a:spcPct val="120000"/>
              </a:lnSpc>
              <a:spcBef>
                <a:spcPct val="80000"/>
              </a:spcBef>
              <a:buClr>
                <a:srgbClr val="FA9819"/>
              </a:buClr>
              <a:defRPr/>
            </a:pPr>
            <a:r>
              <a:rPr lang="en-US" sz="5600" dirty="0">
                <a:solidFill>
                  <a:srgbClr val="000000"/>
                </a:solidFill>
                <a:latin typeface="Arial" panose="020B0604020202020204" pitchFamily="34" charset="0"/>
                <a:cs typeface="Arial" panose="020B0604020202020204" pitchFamily="34" charset="0"/>
              </a:rPr>
              <a:t>One of the primary goals of the data warehouse was to represent prior history correctly</a:t>
            </a:r>
          </a:p>
          <a:p>
            <a:pPr marL="342900" indent="-342900" eaLnBrk="0" hangingPunct="0">
              <a:lnSpc>
                <a:spcPct val="120000"/>
              </a:lnSpc>
              <a:spcBef>
                <a:spcPct val="80000"/>
              </a:spcBef>
              <a:buClr>
                <a:srgbClr val="FA9819"/>
              </a:buClr>
              <a:defRPr/>
            </a:pPr>
            <a:r>
              <a:rPr lang="en-US" sz="5600" dirty="0">
                <a:solidFill>
                  <a:srgbClr val="000000"/>
                </a:solidFill>
                <a:latin typeface="Arial" panose="020B0604020202020204" pitchFamily="34" charset="0"/>
                <a:cs typeface="Arial" panose="020B0604020202020204" pitchFamily="34" charset="0"/>
              </a:rPr>
              <a:t>SCD Type 2 does exactly the same. A new dimension row is introduced.</a:t>
            </a:r>
          </a:p>
          <a:p>
            <a:pPr marL="342900" indent="-342900" eaLnBrk="0" hangingPunct="0">
              <a:lnSpc>
                <a:spcPct val="120000"/>
              </a:lnSpc>
              <a:spcBef>
                <a:spcPct val="80000"/>
              </a:spcBef>
              <a:buClr>
                <a:srgbClr val="FA9819"/>
              </a:buClr>
              <a:defRPr/>
            </a:pPr>
            <a:endParaRPr lang="en-US" sz="5600" dirty="0">
              <a:solidFill>
                <a:srgbClr val="000000"/>
              </a:solidFill>
              <a:latin typeface="Arial" panose="020B0604020202020204" pitchFamily="34" charset="0"/>
              <a:cs typeface="Arial" panose="020B0604020202020204" pitchFamily="34" charset="0"/>
            </a:endParaRPr>
          </a:p>
          <a:p>
            <a:pPr marL="342900" indent="-342900" eaLnBrk="0" hangingPunct="0">
              <a:lnSpc>
                <a:spcPct val="120000"/>
              </a:lnSpc>
              <a:spcBef>
                <a:spcPct val="80000"/>
              </a:spcBef>
              <a:buClr>
                <a:srgbClr val="FA9819"/>
              </a:buClr>
            </a:pPr>
            <a:endParaRPr lang="en-US" sz="5600" dirty="0">
              <a:solidFill>
                <a:srgbClr val="000000"/>
              </a:solidFill>
              <a:latin typeface="Arial" panose="020B0604020202020204" pitchFamily="34" charset="0"/>
              <a:cs typeface="Arial" panose="020B0604020202020204" pitchFamily="34" charset="0"/>
            </a:endParaRPr>
          </a:p>
          <a:p>
            <a:pPr marL="342900" indent="-342900" eaLnBrk="0" hangingPunct="0">
              <a:lnSpc>
                <a:spcPct val="120000"/>
              </a:lnSpc>
              <a:spcBef>
                <a:spcPct val="80000"/>
              </a:spcBef>
              <a:buClr>
                <a:srgbClr val="FA9819"/>
              </a:buClr>
            </a:pPr>
            <a:r>
              <a:rPr lang="en-US" sz="5600" dirty="0">
                <a:solidFill>
                  <a:srgbClr val="000000"/>
                </a:solidFill>
                <a:latin typeface="Arial" panose="020B0604020202020204" pitchFamily="34" charset="0"/>
                <a:cs typeface="Arial" panose="020B0604020202020204" pitchFamily="34" charset="0"/>
              </a:rPr>
              <a:t>This new row will reflect the new department attribute value.</a:t>
            </a:r>
          </a:p>
          <a:p>
            <a:pPr marL="342900" indent="-342900" eaLnBrk="0" hangingPunct="0">
              <a:lnSpc>
                <a:spcPct val="120000"/>
              </a:lnSpc>
              <a:spcBef>
                <a:spcPct val="80000"/>
              </a:spcBef>
              <a:buClr>
                <a:srgbClr val="FA9819"/>
              </a:buClr>
            </a:pPr>
            <a:r>
              <a:rPr lang="en-US" sz="5600" dirty="0">
                <a:solidFill>
                  <a:srgbClr val="000000"/>
                </a:solidFill>
                <a:latin typeface="Arial" panose="020B0604020202020204" pitchFamily="34" charset="0"/>
                <a:cs typeface="Arial" panose="020B0604020202020204" pitchFamily="34" charset="0"/>
              </a:rPr>
              <a:t>The type 2 response is the primary technique for accurately tracking slowly changing dimension attributes.</a:t>
            </a:r>
          </a:p>
          <a:p>
            <a:pPr marL="342900" indent="-342900" eaLnBrk="0" hangingPunct="0">
              <a:lnSpc>
                <a:spcPct val="120000"/>
              </a:lnSpc>
              <a:spcBef>
                <a:spcPct val="80000"/>
              </a:spcBef>
              <a:buClr>
                <a:srgbClr val="FA9819"/>
              </a:buClr>
            </a:pPr>
            <a:r>
              <a:rPr lang="en-US" sz="5600" dirty="0">
                <a:solidFill>
                  <a:srgbClr val="000000"/>
                </a:solidFill>
                <a:latin typeface="Arial" panose="020B0604020202020204" pitchFamily="34" charset="0"/>
                <a:cs typeface="Arial" panose="020B0604020202020204" pitchFamily="34" charset="0"/>
              </a:rPr>
              <a:t>It is extremely powerful because the new dimension row automatically partitions history in the fact table.</a:t>
            </a:r>
          </a:p>
          <a:p>
            <a:pPr marL="342900" indent="-342900" eaLnBrk="0" hangingPunct="0">
              <a:lnSpc>
                <a:spcPct val="120000"/>
              </a:lnSpc>
              <a:spcBef>
                <a:spcPct val="80000"/>
              </a:spcBef>
              <a:buClr>
                <a:srgbClr val="FA9819"/>
              </a:buClr>
            </a:pPr>
            <a:r>
              <a:rPr lang="en-US" sz="6400" dirty="0">
                <a:solidFill>
                  <a:srgbClr val="000000"/>
                </a:solidFill>
                <a:latin typeface="Arial" panose="020B0604020202020204" pitchFamily="34" charset="0"/>
                <a:cs typeface="Arial" panose="020B0604020202020204" pitchFamily="34" charset="0"/>
              </a:rPr>
              <a:t>It certainly would feel natural to include an effective date stamp on a dimension row with type 2 changes</a:t>
            </a:r>
          </a:p>
          <a:p>
            <a:pPr marL="342900" indent="-342900" eaLnBrk="0" hangingPunct="0">
              <a:lnSpc>
                <a:spcPct val="120000"/>
              </a:lnSpc>
              <a:spcBef>
                <a:spcPct val="80000"/>
              </a:spcBef>
              <a:buClr>
                <a:srgbClr val="FA9819"/>
              </a:buClr>
            </a:pPr>
            <a:r>
              <a:rPr lang="en-US" sz="6400" dirty="0">
                <a:solidFill>
                  <a:srgbClr val="000000"/>
                </a:solidFill>
                <a:latin typeface="Arial" panose="020B0604020202020204" pitchFamily="34" charset="0"/>
                <a:cs typeface="Arial" panose="020B0604020202020204" pitchFamily="34" charset="0"/>
              </a:rPr>
              <a:t>The date stamp would refer to the moment when the attribute values in the row become valid or invalid.</a:t>
            </a:r>
          </a:p>
          <a:p>
            <a:pPr>
              <a:lnSpc>
                <a:spcPct val="90000"/>
              </a:lnSpc>
              <a:defRPr/>
            </a:pPr>
            <a:endParaRPr lang="en-US" dirty="0"/>
          </a:p>
        </p:txBody>
      </p:sp>
      <p:pic>
        <p:nvPicPr>
          <p:cNvPr id="13" name="Picture 12" descr="SCD2 Before.bmp">
            <a:extLst>
              <a:ext uri="{FF2B5EF4-FFF2-40B4-BE49-F238E27FC236}">
                <a16:creationId xmlns:a16="http://schemas.microsoft.com/office/drawing/2014/main" id="{F980D26A-9071-4459-BB0C-947D446C97F1}"/>
              </a:ext>
            </a:extLst>
          </p:cNvPr>
          <p:cNvPicPr>
            <a:picLocks noChangeAspect="1"/>
          </p:cNvPicPr>
          <p:nvPr/>
        </p:nvPicPr>
        <p:blipFill>
          <a:blip r:embed="rId3" cstate="print"/>
          <a:stretch>
            <a:fillRect/>
          </a:stretch>
        </p:blipFill>
        <p:spPr>
          <a:xfrm>
            <a:off x="648059" y="897338"/>
            <a:ext cx="5638800" cy="914400"/>
          </a:xfrm>
          <a:prstGeom prst="rect">
            <a:avLst/>
          </a:prstGeom>
        </p:spPr>
      </p:pic>
      <p:pic>
        <p:nvPicPr>
          <p:cNvPr id="14" name="Picture 13" descr="SCD2 After.bmp">
            <a:extLst>
              <a:ext uri="{FF2B5EF4-FFF2-40B4-BE49-F238E27FC236}">
                <a16:creationId xmlns:a16="http://schemas.microsoft.com/office/drawing/2014/main" id="{81106CAB-4EEE-4B27-88FA-60900F43EE86}"/>
              </a:ext>
            </a:extLst>
          </p:cNvPr>
          <p:cNvPicPr>
            <a:picLocks noChangeAspect="1"/>
          </p:cNvPicPr>
          <p:nvPr/>
        </p:nvPicPr>
        <p:blipFill>
          <a:blip r:embed="rId4" cstate="print"/>
          <a:stretch>
            <a:fillRect/>
          </a:stretch>
        </p:blipFill>
        <p:spPr>
          <a:xfrm>
            <a:off x="598052" y="2789042"/>
            <a:ext cx="5738813" cy="985837"/>
          </a:xfrm>
          <a:prstGeom prst="rect">
            <a:avLst/>
          </a:prstGeom>
        </p:spPr>
      </p:pic>
    </p:spTree>
    <p:extLst>
      <p:ext uri="{BB962C8B-B14F-4D97-AF65-F5344CB8AC3E}">
        <p14:creationId xmlns:p14="http://schemas.microsoft.com/office/powerpoint/2010/main" val="111103041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400" y="14287"/>
            <a:ext cx="8411852" cy="595313"/>
          </a:xfrm>
        </p:spPr>
        <p:txBody>
          <a:bodyPr/>
          <a:lstStyle/>
          <a:p>
            <a:r>
              <a:rPr lang="en-US" sz="2800" b="1" dirty="0">
                <a:latin typeface="Arial" panose="020B0604020202020204" pitchFamily="34" charset="0"/>
                <a:cs typeface="Arial" panose="020B0604020202020204" pitchFamily="34" charset="0"/>
              </a:rPr>
              <a:t>Slowly Changing Dimensions Type 3</a:t>
            </a:r>
          </a:p>
        </p:txBody>
      </p:sp>
      <p:sp>
        <p:nvSpPr>
          <p:cNvPr id="9" name="Rectangle 3">
            <a:extLst>
              <a:ext uri="{FF2B5EF4-FFF2-40B4-BE49-F238E27FC236}">
                <a16:creationId xmlns:a16="http://schemas.microsoft.com/office/drawing/2014/main" id="{D4AE0357-A44C-4F5D-BCF0-B804060BC228}"/>
              </a:ext>
            </a:extLst>
          </p:cNvPr>
          <p:cNvSpPr txBox="1">
            <a:spLocks noChangeArrowheads="1"/>
          </p:cNvSpPr>
          <p:nvPr/>
        </p:nvSpPr>
        <p:spPr>
          <a:xfrm>
            <a:off x="350837" y="554481"/>
            <a:ext cx="8442325" cy="4648200"/>
          </a:xfrm>
          <a:prstGeom prst="rect">
            <a:avLst/>
          </a:prstGeom>
          <a:noFill/>
        </p:spPr>
        <p:txBody>
          <a:bodyPr vert="horz" lIns="0" tIns="0" rIns="0" bIns="0" rtlCol="0">
            <a:normAutofit fontScale="25000" lnSpcReduction="20000"/>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lnSpc>
                <a:spcPct val="120000"/>
              </a:lnSpc>
            </a:pPr>
            <a:r>
              <a:rPr lang="en-US" sz="6400" dirty="0">
                <a:latin typeface="Arial" panose="020B0604020202020204" pitchFamily="34" charset="0"/>
                <a:cs typeface="Arial" panose="020B0604020202020204" pitchFamily="34" charset="0"/>
              </a:rPr>
              <a:t>The scenario remains the same as in SCD Type1 – It company decided to change the department of a product.</a:t>
            </a:r>
          </a:p>
          <a:p>
            <a:pPr marL="342900" indent="-342900">
              <a:lnSpc>
                <a:spcPct val="120000"/>
              </a:lnSpc>
            </a:pPr>
            <a:r>
              <a:rPr lang="en-US" sz="6400" dirty="0">
                <a:latin typeface="Arial" panose="020B0604020202020204" pitchFamily="34" charset="0"/>
                <a:cs typeface="Arial" panose="020B0604020202020204" pitchFamily="34" charset="0"/>
              </a:rPr>
              <a:t>Some users may still want the ability to see today’s sales in terms of yesterday’s district lines</a:t>
            </a:r>
          </a:p>
          <a:p>
            <a:pPr marL="342900" indent="-342900">
              <a:lnSpc>
                <a:spcPct val="120000"/>
              </a:lnSpc>
            </a:pPr>
            <a:r>
              <a:rPr lang="en-US" sz="6400" dirty="0">
                <a:latin typeface="Arial" panose="020B0604020202020204" pitchFamily="34" charset="0"/>
                <a:cs typeface="Arial" panose="020B0604020202020204" pitchFamily="34" charset="0"/>
              </a:rPr>
              <a:t>This is to see how they would have done under the old organizational structure</a:t>
            </a:r>
          </a:p>
          <a:p>
            <a:pPr marL="342900" indent="-342900">
              <a:lnSpc>
                <a:spcPct val="120000"/>
              </a:lnSpc>
            </a:pPr>
            <a:r>
              <a:rPr lang="en-US" sz="6400" dirty="0">
                <a:latin typeface="Arial" panose="020B0604020202020204" pitchFamily="34" charset="0"/>
                <a:cs typeface="Arial" panose="020B0604020202020204" pitchFamily="34" charset="0"/>
              </a:rPr>
              <a:t>Lets go back to our old example</a:t>
            </a:r>
          </a:p>
          <a:p>
            <a:pPr marL="342900" indent="-342900">
              <a:lnSpc>
                <a:spcPct val="120000"/>
              </a:lnSpc>
            </a:pPr>
            <a:endParaRPr lang="en-US" sz="6400" dirty="0">
              <a:latin typeface="Arial" panose="020B0604020202020204" pitchFamily="34" charset="0"/>
              <a:cs typeface="Arial" panose="020B0604020202020204" pitchFamily="34" charset="0"/>
            </a:endParaRPr>
          </a:p>
          <a:p>
            <a:pPr marL="342900" indent="-342900">
              <a:lnSpc>
                <a:spcPct val="120000"/>
              </a:lnSpc>
            </a:pPr>
            <a:endParaRPr lang="en-US" sz="6400" dirty="0">
              <a:latin typeface="Arial" panose="020B0604020202020204" pitchFamily="34" charset="0"/>
              <a:cs typeface="Arial" panose="020B0604020202020204" pitchFamily="34" charset="0"/>
            </a:endParaRPr>
          </a:p>
          <a:p>
            <a:pPr marL="342900" indent="-342900" eaLnBrk="0" hangingPunct="0">
              <a:lnSpc>
                <a:spcPct val="120000"/>
              </a:lnSpc>
              <a:spcBef>
                <a:spcPct val="80000"/>
              </a:spcBef>
              <a:buClr>
                <a:srgbClr val="FA9819"/>
              </a:buClr>
              <a:defRPr/>
            </a:pPr>
            <a:r>
              <a:rPr lang="en-US" sz="6400" dirty="0">
                <a:solidFill>
                  <a:srgbClr val="000000"/>
                </a:solidFill>
                <a:latin typeface="Arial" panose="020B0604020202020204" pitchFamily="34" charset="0"/>
                <a:cs typeface="Arial" panose="020B0604020202020204" pitchFamily="34" charset="0"/>
              </a:rPr>
              <a:t>There is a legitimate need to track both the values both forward and backward for a period of time around the change we do not issue a new dimension row. We add a new column to capture the attribute change</a:t>
            </a:r>
          </a:p>
          <a:p>
            <a:pPr>
              <a:lnSpc>
                <a:spcPct val="90000"/>
              </a:lnSpc>
              <a:defRPr/>
            </a:pPr>
            <a:endParaRPr lang="en-US" sz="6400" dirty="0">
              <a:solidFill>
                <a:srgbClr val="000000"/>
              </a:solidFill>
              <a:latin typeface="Arial" panose="020B0604020202020204" pitchFamily="34" charset="0"/>
              <a:cs typeface="Arial" panose="020B0604020202020204" pitchFamily="34" charset="0"/>
            </a:endParaRPr>
          </a:p>
          <a:p>
            <a:pPr>
              <a:lnSpc>
                <a:spcPct val="90000"/>
              </a:lnSpc>
              <a:defRPr/>
            </a:pPr>
            <a:endParaRPr lang="en-US" sz="6400" dirty="0">
              <a:solidFill>
                <a:srgbClr val="000000"/>
              </a:solidFill>
              <a:latin typeface="Arial" panose="020B0604020202020204" pitchFamily="34" charset="0"/>
              <a:cs typeface="Arial" panose="020B0604020202020204" pitchFamily="34" charset="0"/>
            </a:endParaRPr>
          </a:p>
          <a:p>
            <a:pPr>
              <a:lnSpc>
                <a:spcPct val="90000"/>
              </a:lnSpc>
              <a:defRPr/>
            </a:pPr>
            <a:endParaRPr lang="en-US" sz="6400" dirty="0">
              <a:solidFill>
                <a:srgbClr val="000000"/>
              </a:solidFill>
              <a:latin typeface="Arial" panose="020B0604020202020204" pitchFamily="34" charset="0"/>
              <a:cs typeface="Arial" panose="020B0604020202020204" pitchFamily="34" charset="0"/>
            </a:endParaRPr>
          </a:p>
          <a:p>
            <a:pPr marL="342900" indent="-342900" eaLnBrk="0" hangingPunct="0">
              <a:lnSpc>
                <a:spcPct val="120000"/>
              </a:lnSpc>
              <a:spcBef>
                <a:spcPct val="80000"/>
              </a:spcBef>
              <a:buClr>
                <a:srgbClr val="FA9819"/>
              </a:buClr>
              <a:defRPr/>
            </a:pPr>
            <a:r>
              <a:rPr lang="en-US" sz="6400" dirty="0">
                <a:solidFill>
                  <a:srgbClr val="000000"/>
                </a:solidFill>
                <a:latin typeface="Arial" panose="020B0604020202020204" pitchFamily="34" charset="0"/>
                <a:cs typeface="Arial" panose="020B0604020202020204" pitchFamily="34" charset="0"/>
              </a:rPr>
              <a:t>Type 3 is appropriate when there’s a strong need to support two views of the world simultaneously</a:t>
            </a:r>
          </a:p>
          <a:p>
            <a:pPr marL="342900" indent="-342900" eaLnBrk="0" hangingPunct="0">
              <a:lnSpc>
                <a:spcPct val="120000"/>
              </a:lnSpc>
              <a:spcBef>
                <a:spcPct val="80000"/>
              </a:spcBef>
              <a:buClr>
                <a:srgbClr val="FA9819"/>
              </a:buClr>
              <a:defRPr/>
            </a:pPr>
            <a:r>
              <a:rPr lang="en-US" sz="6400" dirty="0">
                <a:solidFill>
                  <a:srgbClr val="000000"/>
                </a:solidFill>
                <a:latin typeface="Arial" panose="020B0604020202020204" pitchFamily="34" charset="0"/>
                <a:cs typeface="Arial" panose="020B0604020202020204" pitchFamily="34" charset="0"/>
              </a:rPr>
              <a:t>This is distinguished from the type 2 because both the current and prior descriptions can be regarded as true at the same time</a:t>
            </a:r>
          </a:p>
          <a:p>
            <a:pPr>
              <a:lnSpc>
                <a:spcPct val="90000"/>
              </a:lnSpc>
              <a:defRPr/>
            </a:pPr>
            <a:endParaRPr lang="en-US" sz="1200" dirty="0">
              <a:solidFill>
                <a:srgbClr val="000000"/>
              </a:solidFill>
              <a:latin typeface="Trebuchet MS"/>
            </a:endParaRPr>
          </a:p>
        </p:txBody>
      </p:sp>
      <p:pic>
        <p:nvPicPr>
          <p:cNvPr id="10" name="Picture 9" descr="SCD-Initial.bmp">
            <a:extLst>
              <a:ext uri="{FF2B5EF4-FFF2-40B4-BE49-F238E27FC236}">
                <a16:creationId xmlns:a16="http://schemas.microsoft.com/office/drawing/2014/main" id="{77B2C59C-8449-412A-82B6-1084812C5781}"/>
              </a:ext>
            </a:extLst>
          </p:cNvPr>
          <p:cNvPicPr>
            <a:picLocks noChangeAspect="1"/>
          </p:cNvPicPr>
          <p:nvPr/>
        </p:nvPicPr>
        <p:blipFill>
          <a:blip r:embed="rId3" cstate="print"/>
          <a:stretch>
            <a:fillRect/>
          </a:stretch>
        </p:blipFill>
        <p:spPr>
          <a:xfrm>
            <a:off x="990600" y="2275351"/>
            <a:ext cx="5419725" cy="695325"/>
          </a:xfrm>
          <a:prstGeom prst="rect">
            <a:avLst/>
          </a:prstGeom>
        </p:spPr>
      </p:pic>
      <p:pic>
        <p:nvPicPr>
          <p:cNvPr id="11" name="Picture 10" descr="SCD3.bmp">
            <a:extLst>
              <a:ext uri="{FF2B5EF4-FFF2-40B4-BE49-F238E27FC236}">
                <a16:creationId xmlns:a16="http://schemas.microsoft.com/office/drawing/2014/main" id="{E9A77A06-FC7C-4034-8843-925547D8BCB2}"/>
              </a:ext>
            </a:extLst>
          </p:cNvPr>
          <p:cNvPicPr>
            <a:picLocks noChangeAspect="1"/>
          </p:cNvPicPr>
          <p:nvPr/>
        </p:nvPicPr>
        <p:blipFill>
          <a:blip r:embed="rId4" cstate="print"/>
          <a:stretch>
            <a:fillRect/>
          </a:stretch>
        </p:blipFill>
        <p:spPr>
          <a:xfrm>
            <a:off x="609599" y="4067693"/>
            <a:ext cx="7924800" cy="942975"/>
          </a:xfrm>
          <a:prstGeom prst="rect">
            <a:avLst/>
          </a:prstGeom>
        </p:spPr>
      </p:pic>
    </p:spTree>
    <p:extLst>
      <p:ext uri="{BB962C8B-B14F-4D97-AF65-F5344CB8AC3E}">
        <p14:creationId xmlns:p14="http://schemas.microsoft.com/office/powerpoint/2010/main" val="339422933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67635" y="184667"/>
            <a:ext cx="8411852" cy="595313"/>
          </a:xfrm>
        </p:spPr>
        <p:txBody>
          <a:bodyPr/>
          <a:lstStyle/>
          <a:p>
            <a:r>
              <a:rPr kumimoji="0" lang="en-US" sz="2800" b="1" i="0" u="none" strike="noStrike" kern="0" cap="none" spc="0" normalizeH="0" baseline="0" noProof="0" dirty="0">
                <a:ln>
                  <a:noFill/>
                </a:ln>
                <a:effectLst/>
                <a:uLnTx/>
                <a:uFillTx/>
                <a:ea typeface="+mj-ea"/>
                <a:cs typeface="+mj-cs"/>
              </a:rPr>
              <a:t>ETL – Extract, Transform and Load</a:t>
            </a:r>
            <a:endParaRPr lang="en-US" sz="2800" b="1" dirty="0"/>
          </a:p>
        </p:txBody>
      </p:sp>
      <p:sp>
        <p:nvSpPr>
          <p:cNvPr id="9" name="Rectangle 3">
            <a:extLst>
              <a:ext uri="{FF2B5EF4-FFF2-40B4-BE49-F238E27FC236}">
                <a16:creationId xmlns:a16="http://schemas.microsoft.com/office/drawing/2014/main" id="{8D3493C3-3792-472E-8DCF-E343A0B67AB9}"/>
              </a:ext>
            </a:extLst>
          </p:cNvPr>
          <p:cNvSpPr txBox="1">
            <a:spLocks noChangeArrowheads="1"/>
          </p:cNvSpPr>
          <p:nvPr/>
        </p:nvSpPr>
        <p:spPr>
          <a:xfrm>
            <a:off x="342900" y="955675"/>
            <a:ext cx="8442325" cy="4525963"/>
          </a:xfrm>
          <a:prstGeom prst="rect">
            <a:avLst/>
          </a:prstGeom>
          <a:noFill/>
        </p:spPr>
        <p:txBody>
          <a:bodyPr vert="horz" lIns="0" tIns="0" rIns="0" bIns="0" rtlCol="0">
            <a:normAutofit fontScale="85000" lnSpcReduction="20000"/>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eaLnBrk="0" hangingPunct="0">
              <a:buClr>
                <a:srgbClr val="92D050"/>
              </a:buClr>
              <a:buFont typeface="Arial" pitchFamily="34" charset="0"/>
              <a:buChar char="•"/>
              <a:defRPr/>
            </a:pPr>
            <a:r>
              <a:rPr lang="en-US" sz="2100" dirty="0">
                <a:solidFill>
                  <a:srgbClr val="1F2B35"/>
                </a:solidFill>
                <a:latin typeface="Arial" panose="020B0604020202020204" pitchFamily="34" charset="0"/>
                <a:cs typeface="Arial" panose="020B0604020202020204" pitchFamily="34" charset="0"/>
              </a:rPr>
              <a:t>Data Extract</a:t>
            </a:r>
          </a:p>
          <a:p>
            <a:pPr marL="800100" lvl="1" indent="-342900" eaLnBrk="0" hangingPunct="0">
              <a:buClr>
                <a:srgbClr val="92D050"/>
              </a:buClr>
              <a:buFont typeface="Wingdings" pitchFamily="2" charset="2"/>
              <a:buChar char="ü"/>
              <a:defRPr/>
            </a:pPr>
            <a:r>
              <a:rPr lang="en-US" sz="2100" dirty="0">
                <a:solidFill>
                  <a:srgbClr val="1F2B35"/>
                </a:solidFill>
                <a:latin typeface="Arial" panose="020B0604020202020204" pitchFamily="34" charset="0"/>
                <a:cs typeface="Arial" panose="020B0604020202020204" pitchFamily="34" charset="0"/>
              </a:rPr>
              <a:t>Get Data from source</a:t>
            </a:r>
          </a:p>
          <a:p>
            <a:pPr marL="342900" indent="-342900" eaLnBrk="0" hangingPunct="0">
              <a:buClr>
                <a:srgbClr val="92D050"/>
              </a:buClr>
              <a:buFont typeface="Arial" pitchFamily="34" charset="0"/>
              <a:buChar char="•"/>
              <a:defRPr/>
            </a:pPr>
            <a:r>
              <a:rPr lang="en-US" sz="2100" dirty="0">
                <a:solidFill>
                  <a:srgbClr val="1F2B35"/>
                </a:solidFill>
                <a:latin typeface="Arial" panose="020B0604020202020204" pitchFamily="34" charset="0"/>
                <a:cs typeface="Arial" panose="020B0604020202020204" pitchFamily="34" charset="0"/>
              </a:rPr>
              <a:t>Data Transformation</a:t>
            </a:r>
          </a:p>
          <a:p>
            <a:pPr marL="800100" lvl="1" indent="-342900" eaLnBrk="0" hangingPunct="0">
              <a:buClr>
                <a:srgbClr val="92D050"/>
              </a:buClr>
              <a:buFont typeface="Wingdings" pitchFamily="2" charset="2"/>
              <a:buChar char="ü"/>
              <a:defRPr/>
            </a:pPr>
            <a:r>
              <a:rPr lang="en-US" sz="2100" dirty="0">
                <a:solidFill>
                  <a:srgbClr val="1F2B35"/>
                </a:solidFill>
                <a:latin typeface="Arial" panose="020B0604020202020204" pitchFamily="34" charset="0"/>
                <a:cs typeface="Arial" panose="020B0604020202020204" pitchFamily="34" charset="0"/>
              </a:rPr>
              <a:t>Data Cleansing - Data Quality Assurance</a:t>
            </a:r>
          </a:p>
          <a:p>
            <a:pPr marL="800100" lvl="1" indent="-342900" eaLnBrk="0" hangingPunct="0">
              <a:buClr>
                <a:srgbClr val="92D050"/>
              </a:buClr>
              <a:buFont typeface="Wingdings" pitchFamily="2" charset="2"/>
              <a:buChar char="ü"/>
              <a:defRPr/>
            </a:pPr>
            <a:r>
              <a:rPr lang="en-US" sz="2100" dirty="0">
                <a:solidFill>
                  <a:srgbClr val="1F2B35"/>
                </a:solidFill>
                <a:latin typeface="Arial" panose="020B0604020202020204" pitchFamily="34" charset="0"/>
                <a:cs typeface="Arial" panose="020B0604020202020204" pitchFamily="34" charset="0"/>
              </a:rPr>
              <a:t>Data Scrubbing - Removing errors and inconsistencies</a:t>
            </a:r>
          </a:p>
          <a:p>
            <a:pPr marL="800100" lvl="1" indent="-342900" eaLnBrk="0" hangingPunct="0">
              <a:buClr>
                <a:srgbClr val="92D050"/>
              </a:buClr>
              <a:buFont typeface="Wingdings" pitchFamily="2" charset="2"/>
              <a:buChar char="ü"/>
              <a:defRPr/>
            </a:pPr>
            <a:r>
              <a:rPr lang="en-US" sz="2100" dirty="0">
                <a:solidFill>
                  <a:srgbClr val="1F2B35"/>
                </a:solidFill>
                <a:latin typeface="Arial" panose="020B0604020202020204" pitchFamily="34" charset="0"/>
                <a:cs typeface="Arial" panose="020B0604020202020204" pitchFamily="34" charset="0"/>
              </a:rPr>
              <a:t>Processing Calculations</a:t>
            </a:r>
          </a:p>
          <a:p>
            <a:pPr marL="800100" lvl="1" indent="-342900" eaLnBrk="0" hangingPunct="0">
              <a:buClr>
                <a:srgbClr val="92D050"/>
              </a:buClr>
              <a:buFont typeface="Wingdings" pitchFamily="2" charset="2"/>
              <a:buChar char="ü"/>
              <a:defRPr/>
            </a:pPr>
            <a:r>
              <a:rPr lang="en-US" sz="2100" dirty="0">
                <a:solidFill>
                  <a:srgbClr val="1F2B35"/>
                </a:solidFill>
                <a:latin typeface="Arial" panose="020B0604020202020204" pitchFamily="34" charset="0"/>
                <a:cs typeface="Arial" panose="020B0604020202020204" pitchFamily="34" charset="0"/>
              </a:rPr>
              <a:t>Applying Business Rules</a:t>
            </a:r>
          </a:p>
          <a:p>
            <a:pPr marL="800100" lvl="1" indent="-342900" eaLnBrk="0" hangingPunct="0">
              <a:buClr>
                <a:srgbClr val="92D050"/>
              </a:buClr>
              <a:buFont typeface="Wingdings" pitchFamily="2" charset="2"/>
              <a:buChar char="ü"/>
              <a:defRPr/>
            </a:pPr>
            <a:r>
              <a:rPr lang="en-US" sz="2100" dirty="0">
                <a:solidFill>
                  <a:srgbClr val="1F2B35"/>
                </a:solidFill>
                <a:latin typeface="Arial" panose="020B0604020202020204" pitchFamily="34" charset="0"/>
                <a:cs typeface="Arial" panose="020B0604020202020204" pitchFamily="34" charset="0"/>
              </a:rPr>
              <a:t>Changing Data Types</a:t>
            </a:r>
          </a:p>
          <a:p>
            <a:pPr marL="800100" lvl="1" indent="-342900" eaLnBrk="0" hangingPunct="0">
              <a:buClr>
                <a:srgbClr val="92D050"/>
              </a:buClr>
              <a:buFont typeface="Wingdings" pitchFamily="2" charset="2"/>
              <a:buChar char="ü"/>
              <a:defRPr/>
            </a:pPr>
            <a:r>
              <a:rPr lang="en-US" sz="2100" dirty="0">
                <a:solidFill>
                  <a:srgbClr val="1F2B35"/>
                </a:solidFill>
                <a:latin typeface="Arial" panose="020B0604020202020204" pitchFamily="34" charset="0"/>
                <a:cs typeface="Arial" panose="020B0604020202020204" pitchFamily="34" charset="0"/>
              </a:rPr>
              <a:t>Making the Data More Readable</a:t>
            </a:r>
          </a:p>
          <a:p>
            <a:pPr marL="800100" lvl="1" indent="-342900" eaLnBrk="0" hangingPunct="0">
              <a:buClr>
                <a:srgbClr val="92D050"/>
              </a:buClr>
              <a:buFont typeface="Wingdings" pitchFamily="2" charset="2"/>
              <a:buChar char="ü"/>
              <a:defRPr/>
            </a:pPr>
            <a:r>
              <a:rPr lang="en-US" sz="2100" dirty="0">
                <a:solidFill>
                  <a:srgbClr val="1F2B35"/>
                </a:solidFill>
                <a:latin typeface="Arial" panose="020B0604020202020204" pitchFamily="34" charset="0"/>
                <a:cs typeface="Arial" panose="020B0604020202020204" pitchFamily="34" charset="0"/>
              </a:rPr>
              <a:t>Replacing Codes with Actual Values</a:t>
            </a:r>
          </a:p>
          <a:p>
            <a:pPr marL="800100" lvl="1" indent="-342900" eaLnBrk="0" hangingPunct="0">
              <a:buClr>
                <a:srgbClr val="92D050"/>
              </a:buClr>
              <a:buFont typeface="Wingdings" pitchFamily="2" charset="2"/>
              <a:buChar char="ü"/>
              <a:defRPr/>
            </a:pPr>
            <a:r>
              <a:rPr lang="en-US" sz="2100" dirty="0">
                <a:solidFill>
                  <a:srgbClr val="1F2B35"/>
                </a:solidFill>
                <a:latin typeface="Arial" panose="020B0604020202020204" pitchFamily="34" charset="0"/>
                <a:cs typeface="Arial" panose="020B0604020202020204" pitchFamily="34" charset="0"/>
              </a:rPr>
              <a:t>Summarizing the Data</a:t>
            </a:r>
          </a:p>
          <a:p>
            <a:pPr marL="342900" indent="-342900" eaLnBrk="0" hangingPunct="0">
              <a:buClr>
                <a:srgbClr val="92D050"/>
              </a:buClr>
              <a:buFont typeface="Arial" panose="020B0604020202020204" pitchFamily="34" charset="0"/>
              <a:buChar char="•"/>
              <a:defRPr/>
            </a:pPr>
            <a:r>
              <a:rPr lang="en-US" sz="2100" dirty="0">
                <a:solidFill>
                  <a:srgbClr val="1F2B35"/>
                </a:solidFill>
                <a:latin typeface="Arial" panose="020B0604020202020204" pitchFamily="34" charset="0"/>
                <a:cs typeface="Arial" panose="020B0604020202020204" pitchFamily="34" charset="0"/>
              </a:rPr>
              <a:t>Data Load</a:t>
            </a:r>
          </a:p>
          <a:p>
            <a:pPr marL="800100" lvl="1" indent="-342900" eaLnBrk="0" hangingPunct="0">
              <a:buClr>
                <a:srgbClr val="92D050"/>
              </a:buClr>
              <a:buFont typeface="Wingdings" pitchFamily="2" charset="2"/>
              <a:buChar char="ü"/>
              <a:defRPr/>
            </a:pPr>
            <a:r>
              <a:rPr lang="en-US" sz="2100" dirty="0">
                <a:solidFill>
                  <a:srgbClr val="1F2B35"/>
                </a:solidFill>
                <a:latin typeface="Arial" panose="020B0604020202020204" pitchFamily="34" charset="0"/>
                <a:cs typeface="Arial" panose="020B0604020202020204" pitchFamily="34" charset="0"/>
              </a:rPr>
              <a:t>Load data into Warehouse</a:t>
            </a:r>
          </a:p>
          <a:p>
            <a:pPr>
              <a:lnSpc>
                <a:spcPct val="90000"/>
              </a:lnSpc>
              <a:defRPr/>
            </a:pPr>
            <a:endParaRPr lang="en-US" dirty="0"/>
          </a:p>
        </p:txBody>
      </p:sp>
    </p:spTree>
    <p:extLst>
      <p:ext uri="{BB962C8B-B14F-4D97-AF65-F5344CB8AC3E}">
        <p14:creationId xmlns:p14="http://schemas.microsoft.com/office/powerpoint/2010/main" val="266027437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67635" y="184667"/>
            <a:ext cx="8411852" cy="595313"/>
          </a:xfrm>
        </p:spPr>
        <p:txBody>
          <a:bodyPr/>
          <a:lstStyle/>
          <a:p>
            <a:r>
              <a:rPr lang="en-US" sz="2800" b="1" dirty="0"/>
              <a:t>Extraction</a:t>
            </a:r>
          </a:p>
        </p:txBody>
      </p:sp>
      <p:sp>
        <p:nvSpPr>
          <p:cNvPr id="6" name="Rectangle 3">
            <a:extLst>
              <a:ext uri="{FF2B5EF4-FFF2-40B4-BE49-F238E27FC236}">
                <a16:creationId xmlns:a16="http://schemas.microsoft.com/office/drawing/2014/main" id="{45D5F12D-6798-4F89-A04A-31A7BC5D7762}"/>
              </a:ext>
            </a:extLst>
          </p:cNvPr>
          <p:cNvSpPr txBox="1">
            <a:spLocks noChangeArrowheads="1"/>
          </p:cNvSpPr>
          <p:nvPr/>
        </p:nvSpPr>
        <p:spPr>
          <a:xfrm>
            <a:off x="342900" y="955675"/>
            <a:ext cx="8442325" cy="4525963"/>
          </a:xfrm>
          <a:prstGeom prst="rect">
            <a:avLst/>
          </a:prstGeom>
          <a:noFill/>
        </p:spPr>
        <p:txBody>
          <a:bodyPr vert="horz" lIns="0" tIns="0" rIns="0" bIns="0" rtlCol="0">
            <a:normAutofit/>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eaLnBrk="0" hangingPunct="0">
              <a:buClr>
                <a:srgbClr val="92D050"/>
              </a:buClr>
              <a:buFont typeface="Arial" panose="020B0604020202020204" pitchFamily="34" charset="0"/>
              <a:buChar char="•"/>
              <a:defRPr/>
            </a:pPr>
            <a:r>
              <a:rPr lang="en-US" sz="2000" dirty="0">
                <a:solidFill>
                  <a:srgbClr val="1F2B35"/>
                </a:solidFill>
                <a:latin typeface="Arial" panose="020B0604020202020204" pitchFamily="34" charset="0"/>
                <a:cs typeface="Arial" panose="020B0604020202020204" pitchFamily="34" charset="0"/>
              </a:rPr>
              <a:t>The first part of the ETL process.</a:t>
            </a:r>
          </a:p>
          <a:p>
            <a:pPr marL="342900" indent="-342900" eaLnBrk="0" hangingPunct="0">
              <a:buClr>
                <a:srgbClr val="92D050"/>
              </a:buClr>
              <a:buFont typeface="Arial" panose="020B0604020202020204" pitchFamily="34" charset="0"/>
              <a:buChar char="•"/>
              <a:defRPr/>
            </a:pPr>
            <a:r>
              <a:rPr lang="en-US" sz="2000" dirty="0">
                <a:solidFill>
                  <a:srgbClr val="1F2B35"/>
                </a:solidFill>
                <a:latin typeface="Arial" panose="020B0604020202020204" pitchFamily="34" charset="0"/>
                <a:cs typeface="Arial" panose="020B0604020202020204" pitchFamily="34" charset="0"/>
              </a:rPr>
              <a:t>Data under consideration is being extracted from the different data sources.</a:t>
            </a:r>
          </a:p>
          <a:p>
            <a:pPr marL="342900" indent="-342900" eaLnBrk="0" hangingPunct="0">
              <a:buClr>
                <a:srgbClr val="92D050"/>
              </a:buClr>
              <a:buFont typeface="Arial" panose="020B0604020202020204" pitchFamily="34" charset="0"/>
              <a:buChar char="•"/>
              <a:defRPr/>
            </a:pPr>
            <a:r>
              <a:rPr lang="en-US" sz="2000" dirty="0">
                <a:solidFill>
                  <a:srgbClr val="1F2B35"/>
                </a:solidFill>
                <a:latin typeface="Arial" panose="020B0604020202020204" pitchFamily="34" charset="0"/>
                <a:cs typeface="Arial" panose="020B0604020202020204" pitchFamily="34" charset="0"/>
              </a:rPr>
              <a:t>The source data may use a different data organization/format.</a:t>
            </a:r>
          </a:p>
          <a:p>
            <a:pPr marL="342900" indent="-342900" eaLnBrk="0" hangingPunct="0">
              <a:buClr>
                <a:srgbClr val="92D050"/>
              </a:buClr>
              <a:buFont typeface="Arial" panose="020B0604020202020204" pitchFamily="34" charset="0"/>
              <a:buChar char="•"/>
              <a:defRPr/>
            </a:pPr>
            <a:r>
              <a:rPr lang="en-US" sz="2000" dirty="0">
                <a:solidFill>
                  <a:srgbClr val="1F2B35"/>
                </a:solidFill>
                <a:latin typeface="Arial" panose="020B0604020202020204" pitchFamily="34" charset="0"/>
                <a:cs typeface="Arial" panose="020B0604020202020204" pitchFamily="34" charset="0"/>
              </a:rPr>
              <a:t>Some of the common data sources are :</a:t>
            </a:r>
          </a:p>
          <a:p>
            <a:pPr marL="800100" lvl="1" indent="-342900" eaLnBrk="0" hangingPunct="0">
              <a:buClr>
                <a:srgbClr val="92D050"/>
              </a:buClr>
              <a:buFont typeface="Wingdings" pitchFamily="2" charset="2"/>
              <a:buChar char="ü"/>
              <a:defRPr/>
            </a:pPr>
            <a:r>
              <a:rPr lang="en-US" sz="2000" dirty="0">
                <a:solidFill>
                  <a:srgbClr val="1F2B35"/>
                </a:solidFill>
                <a:latin typeface="Arial" panose="020B0604020202020204" pitchFamily="34" charset="0"/>
                <a:cs typeface="Arial" panose="020B0604020202020204" pitchFamily="34" charset="0"/>
              </a:rPr>
              <a:t>Databases</a:t>
            </a:r>
          </a:p>
          <a:p>
            <a:pPr marL="800100" lvl="1" indent="-342900" eaLnBrk="0" hangingPunct="0">
              <a:buClr>
                <a:srgbClr val="92D050"/>
              </a:buClr>
              <a:buFont typeface="Wingdings" pitchFamily="2" charset="2"/>
              <a:buChar char="ü"/>
              <a:defRPr/>
            </a:pPr>
            <a:r>
              <a:rPr lang="en-US" sz="2000" dirty="0">
                <a:solidFill>
                  <a:srgbClr val="1F2B35"/>
                </a:solidFill>
                <a:latin typeface="Arial" panose="020B0604020202020204" pitchFamily="34" charset="0"/>
                <a:cs typeface="Arial" panose="020B0604020202020204" pitchFamily="34" charset="0"/>
              </a:rPr>
              <a:t>Flat files</a:t>
            </a:r>
          </a:p>
          <a:p>
            <a:pPr>
              <a:lnSpc>
                <a:spcPct val="90000"/>
              </a:lnSpc>
              <a:defRPr/>
            </a:pPr>
            <a:endParaRPr lang="en-US" dirty="0"/>
          </a:p>
        </p:txBody>
      </p:sp>
    </p:spTree>
    <p:extLst>
      <p:ext uri="{BB962C8B-B14F-4D97-AF65-F5344CB8AC3E}">
        <p14:creationId xmlns:p14="http://schemas.microsoft.com/office/powerpoint/2010/main" val="120172466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67635" y="184667"/>
            <a:ext cx="8411852" cy="595313"/>
          </a:xfrm>
        </p:spPr>
        <p:txBody>
          <a:bodyPr/>
          <a:lstStyle/>
          <a:p>
            <a:r>
              <a:rPr lang="en-US" sz="2800" b="1" dirty="0"/>
              <a:t>Transform</a:t>
            </a:r>
          </a:p>
        </p:txBody>
      </p:sp>
      <p:sp>
        <p:nvSpPr>
          <p:cNvPr id="7" name="Rectangle 3">
            <a:extLst>
              <a:ext uri="{FF2B5EF4-FFF2-40B4-BE49-F238E27FC236}">
                <a16:creationId xmlns:a16="http://schemas.microsoft.com/office/drawing/2014/main" id="{95FC2C88-F308-4DDF-9898-9B54A3467CAC}"/>
              </a:ext>
            </a:extLst>
          </p:cNvPr>
          <p:cNvSpPr txBox="1">
            <a:spLocks noChangeArrowheads="1"/>
          </p:cNvSpPr>
          <p:nvPr/>
        </p:nvSpPr>
        <p:spPr>
          <a:xfrm>
            <a:off x="342900" y="955675"/>
            <a:ext cx="8442325" cy="4525963"/>
          </a:xfrm>
          <a:prstGeom prst="rect">
            <a:avLst/>
          </a:prstGeom>
          <a:noFill/>
        </p:spPr>
        <p:txBody>
          <a:bodyPr vert="horz" lIns="0" tIns="0" rIns="0" bIns="0" rtlCol="0">
            <a:normAutofit/>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eaLnBrk="0" hangingPunct="0">
              <a:buClr>
                <a:srgbClr val="92D050"/>
              </a:buClr>
              <a:buFont typeface="Arial" panose="020B0604020202020204" pitchFamily="34" charset="0"/>
              <a:buChar char="•"/>
              <a:defRPr/>
            </a:pPr>
            <a:r>
              <a:rPr lang="en-US" sz="1800" dirty="0">
                <a:solidFill>
                  <a:srgbClr val="1F2B35"/>
                </a:solidFill>
                <a:latin typeface="Arial" panose="020B0604020202020204" pitchFamily="34" charset="0"/>
                <a:cs typeface="Arial" panose="020B0604020202020204" pitchFamily="34" charset="0"/>
              </a:rPr>
              <a:t>It involves applying a series of rules to the data extracted from the source to derive the data to load the target.</a:t>
            </a:r>
          </a:p>
          <a:p>
            <a:pPr marL="342900" indent="-342900" eaLnBrk="0" hangingPunct="0">
              <a:buClr>
                <a:srgbClr val="92D050"/>
              </a:buClr>
              <a:buFont typeface="Arial" panose="020B0604020202020204" pitchFamily="34" charset="0"/>
              <a:buChar char="•"/>
              <a:defRPr/>
            </a:pPr>
            <a:r>
              <a:rPr lang="en-US" sz="1800" dirty="0">
                <a:solidFill>
                  <a:srgbClr val="1F2B35"/>
                </a:solidFill>
                <a:latin typeface="Arial" panose="020B0604020202020204" pitchFamily="34" charset="0"/>
                <a:cs typeface="Arial" panose="020B0604020202020204" pitchFamily="34" charset="0"/>
              </a:rPr>
              <a:t>Depending on the requirement of the target, the transformation rules may be simple or complex.</a:t>
            </a:r>
          </a:p>
          <a:p>
            <a:pPr marL="342900" indent="-342900" eaLnBrk="0" hangingPunct="0">
              <a:buClr>
                <a:srgbClr val="92D050"/>
              </a:buClr>
              <a:buFont typeface="Arial" panose="020B0604020202020204" pitchFamily="34" charset="0"/>
              <a:buChar char="•"/>
              <a:defRPr/>
            </a:pPr>
            <a:r>
              <a:rPr lang="en-US" sz="1800" dirty="0">
                <a:solidFill>
                  <a:srgbClr val="1F2B35"/>
                </a:solidFill>
                <a:latin typeface="Arial" panose="020B0604020202020204" pitchFamily="34" charset="0"/>
                <a:cs typeface="Arial" panose="020B0604020202020204" pitchFamily="34" charset="0"/>
              </a:rPr>
              <a:t>Transformation may involve :</a:t>
            </a:r>
          </a:p>
          <a:p>
            <a:pPr marL="800100" lvl="1" indent="-342900" eaLnBrk="0" hangingPunct="0">
              <a:buClr>
                <a:srgbClr val="92D050"/>
              </a:buClr>
              <a:buFont typeface="Wingdings" pitchFamily="2" charset="2"/>
              <a:buChar char="ü"/>
              <a:defRPr/>
            </a:pPr>
            <a:r>
              <a:rPr lang="en-US" sz="1800" dirty="0">
                <a:solidFill>
                  <a:srgbClr val="1F2B35"/>
                </a:solidFill>
                <a:latin typeface="Arial" panose="020B0604020202020204" pitchFamily="34" charset="0"/>
                <a:cs typeface="Arial" panose="020B0604020202020204" pitchFamily="34" charset="0"/>
              </a:rPr>
              <a:t>	Selecting only certain columns to load</a:t>
            </a:r>
          </a:p>
          <a:p>
            <a:pPr marL="800100" lvl="1" indent="-342900" eaLnBrk="0" hangingPunct="0">
              <a:buClr>
                <a:srgbClr val="92D050"/>
              </a:buClr>
              <a:buFont typeface="Wingdings" pitchFamily="2" charset="2"/>
              <a:buChar char="ü"/>
              <a:defRPr/>
            </a:pPr>
            <a:r>
              <a:rPr lang="en-US" sz="1800" dirty="0">
                <a:solidFill>
                  <a:srgbClr val="1F2B35"/>
                </a:solidFill>
                <a:latin typeface="Arial" panose="020B0604020202020204" pitchFamily="34" charset="0"/>
                <a:cs typeface="Arial" panose="020B0604020202020204" pitchFamily="34" charset="0"/>
              </a:rPr>
              <a:t>	Filtering</a:t>
            </a:r>
          </a:p>
          <a:p>
            <a:pPr marL="800100" lvl="1" indent="-342900" eaLnBrk="0" hangingPunct="0">
              <a:buClr>
                <a:srgbClr val="92D050"/>
              </a:buClr>
              <a:buFont typeface="Wingdings" pitchFamily="2" charset="2"/>
              <a:buChar char="ü"/>
              <a:defRPr/>
            </a:pPr>
            <a:r>
              <a:rPr lang="en-US" sz="1800" dirty="0">
                <a:solidFill>
                  <a:srgbClr val="1F2B35"/>
                </a:solidFill>
                <a:latin typeface="Arial" panose="020B0604020202020204" pitchFamily="34" charset="0"/>
                <a:cs typeface="Arial" panose="020B0604020202020204" pitchFamily="34" charset="0"/>
              </a:rPr>
              <a:t>	Sorting</a:t>
            </a:r>
          </a:p>
          <a:p>
            <a:pPr marL="800100" lvl="1" indent="-342900" eaLnBrk="0" hangingPunct="0">
              <a:buClr>
                <a:srgbClr val="92D050"/>
              </a:buClr>
              <a:buFont typeface="Wingdings" pitchFamily="2" charset="2"/>
              <a:buChar char="ü"/>
              <a:defRPr/>
            </a:pPr>
            <a:r>
              <a:rPr lang="en-US" sz="1800" dirty="0">
                <a:solidFill>
                  <a:srgbClr val="1F2B35"/>
                </a:solidFill>
                <a:latin typeface="Arial" panose="020B0604020202020204" pitchFamily="34" charset="0"/>
                <a:cs typeface="Arial" panose="020B0604020202020204" pitchFamily="34" charset="0"/>
              </a:rPr>
              <a:t>	Combining data from multiple sources</a:t>
            </a:r>
          </a:p>
          <a:p>
            <a:pPr marL="800100" lvl="1" indent="-342900" eaLnBrk="0" hangingPunct="0">
              <a:buClr>
                <a:srgbClr val="92D050"/>
              </a:buClr>
              <a:buFont typeface="Wingdings" pitchFamily="2" charset="2"/>
              <a:buChar char="ü"/>
              <a:defRPr/>
            </a:pPr>
            <a:r>
              <a:rPr lang="en-US" sz="1800" dirty="0">
                <a:solidFill>
                  <a:srgbClr val="1F2B35"/>
                </a:solidFill>
                <a:latin typeface="Arial" panose="020B0604020202020204" pitchFamily="34" charset="0"/>
                <a:cs typeface="Arial" panose="020B0604020202020204" pitchFamily="34" charset="0"/>
              </a:rPr>
              <a:t>	Generating Surrogate keys, etc.</a:t>
            </a:r>
          </a:p>
          <a:p>
            <a:pPr>
              <a:lnSpc>
                <a:spcPct val="90000"/>
              </a:lnSpc>
              <a:defRPr/>
            </a:pPr>
            <a:endParaRPr lang="en-US" dirty="0"/>
          </a:p>
        </p:txBody>
      </p:sp>
    </p:spTree>
    <p:extLst>
      <p:ext uri="{BB962C8B-B14F-4D97-AF65-F5344CB8AC3E}">
        <p14:creationId xmlns:p14="http://schemas.microsoft.com/office/powerpoint/2010/main" val="70757579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67635" y="184667"/>
            <a:ext cx="8411852" cy="595313"/>
          </a:xfrm>
        </p:spPr>
        <p:txBody>
          <a:bodyPr/>
          <a:lstStyle/>
          <a:p>
            <a:r>
              <a:rPr lang="en-US" sz="2800" b="1" dirty="0"/>
              <a:t>Load</a:t>
            </a:r>
          </a:p>
        </p:txBody>
      </p:sp>
      <p:sp>
        <p:nvSpPr>
          <p:cNvPr id="6" name="Rectangle 3">
            <a:extLst>
              <a:ext uri="{FF2B5EF4-FFF2-40B4-BE49-F238E27FC236}">
                <a16:creationId xmlns:a16="http://schemas.microsoft.com/office/drawing/2014/main" id="{4B195546-745E-4BFD-8B17-8ED55DC98A5B}"/>
              </a:ext>
            </a:extLst>
          </p:cNvPr>
          <p:cNvSpPr txBox="1">
            <a:spLocks noChangeArrowheads="1"/>
          </p:cNvSpPr>
          <p:nvPr/>
        </p:nvSpPr>
        <p:spPr>
          <a:xfrm>
            <a:off x="342900" y="955675"/>
            <a:ext cx="8442325" cy="4525963"/>
          </a:xfrm>
          <a:prstGeom prst="rect">
            <a:avLst/>
          </a:prstGeom>
          <a:noFill/>
        </p:spPr>
        <p:txBody>
          <a:bodyPr vert="horz" lIns="0" tIns="0" rIns="0" bIns="0" rtlCol="0">
            <a:normAutofit/>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eaLnBrk="0" hangingPunct="0">
              <a:buClr>
                <a:srgbClr val="92D050"/>
              </a:buClr>
              <a:buFont typeface="Wingdings" panose="05000000000000000000" pitchFamily="2" charset="2"/>
              <a:buChar char="v"/>
              <a:defRPr/>
            </a:pPr>
            <a:r>
              <a:rPr lang="en-US" sz="2000" dirty="0">
                <a:solidFill>
                  <a:srgbClr val="1F2B35"/>
                </a:solidFill>
                <a:latin typeface="Arial" panose="020B0604020202020204" pitchFamily="34" charset="0"/>
                <a:cs typeface="Arial" panose="020B0604020202020204" pitchFamily="34" charset="0"/>
              </a:rPr>
              <a:t>The last step of the ETL process</a:t>
            </a:r>
          </a:p>
          <a:p>
            <a:pPr marL="342900" indent="-342900" eaLnBrk="0" hangingPunct="0">
              <a:buClr>
                <a:srgbClr val="92D050"/>
              </a:buClr>
              <a:buFont typeface="Wingdings" panose="05000000000000000000" pitchFamily="2" charset="2"/>
              <a:buChar char="v"/>
              <a:defRPr/>
            </a:pPr>
            <a:r>
              <a:rPr lang="en-US" sz="2000" dirty="0">
                <a:solidFill>
                  <a:srgbClr val="1F2B35"/>
                </a:solidFill>
                <a:latin typeface="Arial" panose="020B0604020202020204" pitchFamily="34" charset="0"/>
                <a:cs typeface="Arial" panose="020B0604020202020204" pitchFamily="34" charset="0"/>
              </a:rPr>
              <a:t>The load phase loads the transformed data to the end target.</a:t>
            </a:r>
          </a:p>
          <a:p>
            <a:pPr marL="342900" indent="-342900" eaLnBrk="0" hangingPunct="0">
              <a:buClr>
                <a:srgbClr val="92D050"/>
              </a:buClr>
              <a:buFont typeface="Wingdings" panose="05000000000000000000" pitchFamily="2" charset="2"/>
              <a:buChar char="v"/>
              <a:defRPr/>
            </a:pPr>
            <a:r>
              <a:rPr lang="en-US" sz="2000" dirty="0">
                <a:solidFill>
                  <a:srgbClr val="1F2B35"/>
                </a:solidFill>
                <a:latin typeface="Arial" panose="020B0604020202020204" pitchFamily="34" charset="0"/>
                <a:cs typeface="Arial" panose="020B0604020202020204" pitchFamily="34" charset="0"/>
              </a:rPr>
              <a:t>Depending on the requirement, the load phase may be:</a:t>
            </a:r>
          </a:p>
          <a:p>
            <a:pPr marL="800100" lvl="1" indent="-342900" eaLnBrk="0" hangingPunct="0">
              <a:buClr>
                <a:srgbClr val="92D050"/>
              </a:buClr>
              <a:buFont typeface="Wingdings" panose="05000000000000000000" pitchFamily="2" charset="2"/>
              <a:buChar char="ü"/>
              <a:defRPr/>
            </a:pPr>
            <a:r>
              <a:rPr lang="en-US" sz="2000" dirty="0">
                <a:solidFill>
                  <a:srgbClr val="1F2B35"/>
                </a:solidFill>
                <a:latin typeface="Arial" panose="020B0604020202020204" pitchFamily="34" charset="0"/>
                <a:cs typeface="Arial" panose="020B0604020202020204" pitchFamily="34" charset="0"/>
              </a:rPr>
              <a:t>Full Load</a:t>
            </a:r>
          </a:p>
          <a:p>
            <a:pPr marL="800100" lvl="1" indent="-342900" eaLnBrk="0" hangingPunct="0">
              <a:buClr>
                <a:srgbClr val="92D050"/>
              </a:buClr>
              <a:buFont typeface="Wingdings" panose="05000000000000000000" pitchFamily="2" charset="2"/>
              <a:buChar char="ü"/>
              <a:defRPr/>
            </a:pPr>
            <a:r>
              <a:rPr lang="en-US" sz="2000" dirty="0">
                <a:solidFill>
                  <a:srgbClr val="1F2B35"/>
                </a:solidFill>
                <a:latin typeface="Arial" panose="020B0604020202020204" pitchFamily="34" charset="0"/>
                <a:cs typeface="Arial" panose="020B0604020202020204" pitchFamily="34" charset="0"/>
              </a:rPr>
              <a:t>Incremental Load</a:t>
            </a:r>
          </a:p>
          <a:p>
            <a:pPr>
              <a:lnSpc>
                <a:spcPct val="90000"/>
              </a:lnSpc>
              <a:defRPr/>
            </a:pPr>
            <a:endParaRPr lang="en-US" dirty="0"/>
          </a:p>
        </p:txBody>
      </p:sp>
    </p:spTree>
    <p:extLst>
      <p:ext uri="{BB962C8B-B14F-4D97-AF65-F5344CB8AC3E}">
        <p14:creationId xmlns:p14="http://schemas.microsoft.com/office/powerpoint/2010/main" val="309314378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67635" y="184667"/>
            <a:ext cx="8411852" cy="595313"/>
          </a:xfrm>
        </p:spPr>
        <p:txBody>
          <a:bodyPr/>
          <a:lstStyle/>
          <a:p>
            <a:r>
              <a:rPr lang="en-US" sz="2800" b="1" dirty="0"/>
              <a:t>Importance of ETL</a:t>
            </a:r>
          </a:p>
        </p:txBody>
      </p:sp>
      <p:sp>
        <p:nvSpPr>
          <p:cNvPr id="9" name="Rectangle 3">
            <a:extLst>
              <a:ext uri="{FF2B5EF4-FFF2-40B4-BE49-F238E27FC236}">
                <a16:creationId xmlns:a16="http://schemas.microsoft.com/office/drawing/2014/main" id="{4218D0EC-7E30-4A59-B24A-68A72D23E184}"/>
              </a:ext>
            </a:extLst>
          </p:cNvPr>
          <p:cNvSpPr txBox="1">
            <a:spLocks noChangeArrowheads="1"/>
          </p:cNvSpPr>
          <p:nvPr/>
        </p:nvSpPr>
        <p:spPr bwMode="auto">
          <a:xfrm>
            <a:off x="167635" y="779980"/>
            <a:ext cx="8442325"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122238" indent="-122238" algn="l" rtl="0" fontAlgn="base">
              <a:lnSpc>
                <a:spcPct val="105000"/>
              </a:lnSpc>
              <a:spcBef>
                <a:spcPct val="20000"/>
              </a:spcBef>
              <a:spcAft>
                <a:spcPct val="0"/>
              </a:spcAft>
              <a:buClr>
                <a:schemeClr val="tx1"/>
              </a:buClr>
              <a:buSzPct val="120000"/>
              <a:buChar char="•"/>
              <a:defRPr sz="1600">
                <a:solidFill>
                  <a:schemeClr val="tx1"/>
                </a:solidFill>
                <a:latin typeface="+mn-lt"/>
                <a:ea typeface="+mn-ea"/>
                <a:cs typeface="+mn-cs"/>
              </a:defRPr>
            </a:lvl1pPr>
            <a:lvl2pPr marL="571500" indent="-228600" algn="l" rtl="0" fontAlgn="base">
              <a:lnSpc>
                <a:spcPct val="105000"/>
              </a:lnSpc>
              <a:spcBef>
                <a:spcPct val="20000"/>
              </a:spcBef>
              <a:spcAft>
                <a:spcPct val="0"/>
              </a:spcAft>
              <a:buClr>
                <a:schemeClr val="tx1"/>
              </a:buClr>
              <a:buSzPct val="90000"/>
              <a:buFont typeface="Wingdings" pitchFamily="2" charset="2"/>
              <a:buChar char="§"/>
              <a:defRPr sz="1600">
                <a:solidFill>
                  <a:schemeClr val="tx1"/>
                </a:solidFill>
                <a:latin typeface="+mn-lt"/>
              </a:defRPr>
            </a:lvl2pPr>
            <a:lvl3pPr marL="808038" indent="-122238" algn="l" rtl="0" fontAlgn="base">
              <a:lnSpc>
                <a:spcPct val="105000"/>
              </a:lnSpc>
              <a:spcBef>
                <a:spcPct val="20000"/>
              </a:spcBef>
              <a:spcAft>
                <a:spcPct val="0"/>
              </a:spcAft>
              <a:buClr>
                <a:schemeClr val="tx1"/>
              </a:buClr>
              <a:buChar char="•"/>
              <a:defRPr sz="1600">
                <a:solidFill>
                  <a:schemeClr val="tx1"/>
                </a:solidFill>
                <a:latin typeface="+mn-lt"/>
              </a:defRPr>
            </a:lvl3pPr>
            <a:lvl4pPr marL="1257300" indent="-228600" algn="l" rtl="0" fontAlgn="base">
              <a:lnSpc>
                <a:spcPct val="105000"/>
              </a:lnSpc>
              <a:spcBef>
                <a:spcPct val="20000"/>
              </a:spcBef>
              <a:spcAft>
                <a:spcPct val="0"/>
              </a:spcAft>
              <a:buClr>
                <a:schemeClr val="tx1"/>
              </a:buClr>
              <a:buSzPct val="70000"/>
              <a:buFont typeface="Wingdings" pitchFamily="2" charset="2"/>
              <a:buChar char="§"/>
              <a:defRPr sz="1600">
                <a:solidFill>
                  <a:schemeClr val="tx1"/>
                </a:solidFill>
                <a:latin typeface="+mn-lt"/>
              </a:defRPr>
            </a:lvl4pPr>
            <a:lvl5pPr marL="1493838" indent="-122238" algn="l" rtl="0" fontAlgn="base">
              <a:lnSpc>
                <a:spcPct val="105000"/>
              </a:lnSpc>
              <a:spcBef>
                <a:spcPct val="20000"/>
              </a:spcBef>
              <a:spcAft>
                <a:spcPct val="0"/>
              </a:spcAft>
              <a:buClr>
                <a:schemeClr val="tx1"/>
              </a:buClr>
              <a:buSzPct val="80000"/>
              <a:buChar char="•"/>
              <a:defRPr sz="1600">
                <a:solidFill>
                  <a:schemeClr val="tx1"/>
                </a:solidFill>
                <a:latin typeface="+mn-lt"/>
              </a:defRPr>
            </a:lvl5pPr>
            <a:lvl6pPr marL="1951038" indent="-122238" algn="l" rtl="0" fontAlgn="base">
              <a:lnSpc>
                <a:spcPct val="105000"/>
              </a:lnSpc>
              <a:spcBef>
                <a:spcPct val="20000"/>
              </a:spcBef>
              <a:spcAft>
                <a:spcPct val="0"/>
              </a:spcAft>
              <a:buClr>
                <a:schemeClr val="tx1"/>
              </a:buClr>
              <a:buSzPct val="80000"/>
              <a:buChar char="•"/>
              <a:defRPr sz="1600">
                <a:solidFill>
                  <a:schemeClr val="tx1"/>
                </a:solidFill>
                <a:latin typeface="+mn-lt"/>
              </a:defRPr>
            </a:lvl6pPr>
            <a:lvl7pPr marL="2408238" indent="-122238" algn="l" rtl="0" fontAlgn="base">
              <a:lnSpc>
                <a:spcPct val="105000"/>
              </a:lnSpc>
              <a:spcBef>
                <a:spcPct val="20000"/>
              </a:spcBef>
              <a:spcAft>
                <a:spcPct val="0"/>
              </a:spcAft>
              <a:buClr>
                <a:schemeClr val="tx1"/>
              </a:buClr>
              <a:buSzPct val="80000"/>
              <a:buChar char="•"/>
              <a:defRPr sz="1600">
                <a:solidFill>
                  <a:schemeClr val="tx1"/>
                </a:solidFill>
                <a:latin typeface="+mn-lt"/>
              </a:defRPr>
            </a:lvl7pPr>
            <a:lvl8pPr marL="2865438" indent="-122238" algn="l" rtl="0" fontAlgn="base">
              <a:lnSpc>
                <a:spcPct val="105000"/>
              </a:lnSpc>
              <a:spcBef>
                <a:spcPct val="20000"/>
              </a:spcBef>
              <a:spcAft>
                <a:spcPct val="0"/>
              </a:spcAft>
              <a:buClr>
                <a:schemeClr val="tx1"/>
              </a:buClr>
              <a:buSzPct val="80000"/>
              <a:buChar char="•"/>
              <a:defRPr sz="1600">
                <a:solidFill>
                  <a:schemeClr val="tx1"/>
                </a:solidFill>
                <a:latin typeface="+mn-lt"/>
              </a:defRPr>
            </a:lvl8pPr>
            <a:lvl9pPr marL="3322638" indent="-122238" algn="l" rtl="0" fontAlgn="base">
              <a:lnSpc>
                <a:spcPct val="105000"/>
              </a:lnSpc>
              <a:spcBef>
                <a:spcPct val="20000"/>
              </a:spcBef>
              <a:spcAft>
                <a:spcPct val="0"/>
              </a:spcAft>
              <a:buClr>
                <a:schemeClr val="tx1"/>
              </a:buClr>
              <a:buSzPct val="80000"/>
              <a:buChar char="•"/>
              <a:defRPr sz="1600">
                <a:solidFill>
                  <a:schemeClr val="tx1"/>
                </a:solidFill>
                <a:latin typeface="+mn-lt"/>
              </a:defRPr>
            </a:lvl9pPr>
          </a:lstStyle>
          <a:p>
            <a:pPr eaLnBrk="0" hangingPunct="0">
              <a:buClr>
                <a:srgbClr val="92D050"/>
              </a:buClr>
              <a:defRPr/>
            </a:pPr>
            <a:r>
              <a:rPr kumimoji="0" lang="en-US" sz="2400" b="0" i="0" u="none" strike="noStrike" kern="0" cap="none" spc="0" normalizeH="0" baseline="0" noProof="0" dirty="0">
                <a:ln>
                  <a:noFill/>
                </a:ln>
                <a:solidFill>
                  <a:srgbClr val="1F2B35"/>
                </a:solidFill>
                <a:effectLst/>
                <a:uLnTx/>
                <a:uFillTx/>
                <a:latin typeface="Arial"/>
                <a:ea typeface="+mn-ea"/>
                <a:cs typeface="+mn-cs"/>
              </a:rPr>
              <a:t>Data of an organization spread across multiple geographies and domains.</a:t>
            </a:r>
          </a:p>
          <a:p>
            <a:pPr eaLnBrk="0" hangingPunct="0">
              <a:buClr>
                <a:srgbClr val="92D050"/>
              </a:buClr>
              <a:defRPr/>
            </a:pPr>
            <a:r>
              <a:rPr kumimoji="0" lang="en-US" sz="2400" b="0" i="0" u="none" strike="noStrike" kern="0" cap="none" spc="0" normalizeH="0" baseline="0" noProof="0" dirty="0">
                <a:ln>
                  <a:noFill/>
                </a:ln>
                <a:solidFill>
                  <a:srgbClr val="1F2B35"/>
                </a:solidFill>
                <a:effectLst/>
                <a:uLnTx/>
                <a:uFillTx/>
                <a:latin typeface="Arial"/>
                <a:ea typeface="+mn-ea"/>
                <a:cs typeface="+mn-cs"/>
              </a:rPr>
              <a:t>Data organized in different format in different sources.</a:t>
            </a:r>
          </a:p>
          <a:p>
            <a:pPr eaLnBrk="0" hangingPunct="0">
              <a:buClr>
                <a:srgbClr val="92D050"/>
              </a:buClr>
              <a:defRPr/>
            </a:pPr>
            <a:r>
              <a:rPr kumimoji="0" lang="en-US" sz="2400" b="0" i="0" u="none" strike="noStrike" kern="0" cap="none" spc="0" normalizeH="0" baseline="0" noProof="0" dirty="0">
                <a:ln>
                  <a:noFill/>
                </a:ln>
                <a:solidFill>
                  <a:srgbClr val="1F2B35"/>
                </a:solidFill>
                <a:effectLst/>
                <a:uLnTx/>
                <a:uFillTx/>
                <a:latin typeface="Arial"/>
                <a:ea typeface="+mn-ea"/>
                <a:cs typeface="+mn-cs"/>
              </a:rPr>
              <a:t>Consolidation of the data to make it more meaningful.</a:t>
            </a:r>
          </a:p>
          <a:p>
            <a:pPr eaLnBrk="0" hangingPunct="0">
              <a:buClr>
                <a:srgbClr val="92D050"/>
              </a:buClr>
              <a:defRPr/>
            </a:pPr>
            <a:r>
              <a:rPr kumimoji="0" lang="en-US" sz="2400" b="0" i="0" u="none" strike="noStrike" kern="0" cap="none" spc="0" normalizeH="0" baseline="0" noProof="0" dirty="0">
                <a:ln>
                  <a:noFill/>
                </a:ln>
                <a:solidFill>
                  <a:srgbClr val="1F2B35"/>
                </a:solidFill>
                <a:effectLst/>
                <a:uLnTx/>
                <a:uFillTx/>
                <a:latin typeface="Arial"/>
                <a:ea typeface="+mn-ea"/>
                <a:cs typeface="+mn-cs"/>
              </a:rPr>
              <a:t>Applying Business rules enriches the value the data provides.</a:t>
            </a:r>
          </a:p>
          <a:p>
            <a:pPr eaLnBrk="0" hangingPunct="0">
              <a:buClr>
                <a:srgbClr val="92D050"/>
              </a:buClr>
              <a:defRPr/>
            </a:pPr>
            <a:r>
              <a:rPr kumimoji="0" lang="en-US" sz="2400" b="0" i="0" u="none" strike="noStrike" kern="0" cap="none" spc="0" normalizeH="0" baseline="0" noProof="0" dirty="0">
                <a:ln>
                  <a:noFill/>
                </a:ln>
                <a:solidFill>
                  <a:srgbClr val="1F2B35"/>
                </a:solidFill>
                <a:effectLst/>
                <a:uLnTx/>
                <a:uFillTx/>
                <a:latin typeface="Arial"/>
                <a:ea typeface="+mn-ea"/>
                <a:cs typeface="+mn-cs"/>
              </a:rPr>
              <a:t>Identifying the inconsistencies and providing a unified view.</a:t>
            </a:r>
          </a:p>
          <a:p>
            <a:pPr eaLnBrk="0" hangingPunct="0">
              <a:buClr>
                <a:srgbClr val="92D050"/>
              </a:buClr>
              <a:defRPr/>
            </a:pPr>
            <a:r>
              <a:rPr kumimoji="0" lang="en-US" sz="2400" b="0" i="0" u="none" strike="noStrike" kern="0" cap="none" spc="0" normalizeH="0" baseline="0" noProof="0" dirty="0">
                <a:ln>
                  <a:noFill/>
                </a:ln>
                <a:solidFill>
                  <a:srgbClr val="1F2B35"/>
                </a:solidFill>
                <a:effectLst/>
                <a:uLnTx/>
                <a:uFillTx/>
                <a:latin typeface="Arial"/>
                <a:ea typeface="+mn-ea"/>
                <a:cs typeface="+mn-cs"/>
              </a:rPr>
              <a:t>Improving the data quality.</a:t>
            </a:r>
          </a:p>
          <a:p>
            <a:pPr marL="122238" marR="0" lvl="0" indent="-122238" algn="l" defTabSz="914400" rtl="0" eaLnBrk="1" fontAlgn="base" latinLnBrk="0" hangingPunct="1">
              <a:lnSpc>
                <a:spcPct val="90000"/>
              </a:lnSpc>
              <a:spcBef>
                <a:spcPct val="20000"/>
              </a:spcBef>
              <a:spcAft>
                <a:spcPct val="0"/>
              </a:spcAft>
              <a:buClr>
                <a:srgbClr val="000000"/>
              </a:buClr>
              <a:buSzPct val="120000"/>
              <a:buFontTx/>
              <a:buChar char="•"/>
              <a:tabLst/>
              <a:defRPr/>
            </a:pPr>
            <a:endParaRPr kumimoji="0" lang="en-US" sz="1600" b="0" i="0" u="none" strike="noStrike" kern="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7232713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302500" y="6186487"/>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0" name="Rectangle 2">
            <a:extLst>
              <a:ext uri="{FF2B5EF4-FFF2-40B4-BE49-F238E27FC236}">
                <a16:creationId xmlns:a16="http://schemas.microsoft.com/office/drawing/2014/main" id="{2F27CBF6-1F2E-44BC-ACFB-248CD3B73591}"/>
              </a:ext>
            </a:extLst>
          </p:cNvPr>
          <p:cNvSpPr txBox="1">
            <a:spLocks noChangeArrowheads="1"/>
          </p:cNvSpPr>
          <p:nvPr/>
        </p:nvSpPr>
        <p:spPr bwMode="gray">
          <a:xfrm>
            <a:off x="63500" y="76200"/>
            <a:ext cx="8442325" cy="595313"/>
          </a:xfrm>
          <a:prstGeom prst="rect">
            <a:avLst/>
          </a:prstGeom>
        </p:spPr>
        <p:txBody>
          <a:bodyPr vert="horz" lIns="0" tIns="0" rIns="0" bIns="0" rtlCol="0" anchor="t" anchorCtr="0">
            <a:noAutofit/>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Verdana" panose="020B0604030504040204" pitchFamily="34" charset="0"/>
                <a:ea typeface="Verdana" panose="020B0604030504040204" pitchFamily="34" charset="0"/>
              </a:rPr>
              <a:t>Impact of Cloud in </a:t>
            </a:r>
            <a:r>
              <a:rPr lang="en-US" sz="2800" b="1" dirty="0" err="1">
                <a:latin typeface="Verdana" panose="020B0604030504040204" pitchFamily="34" charset="0"/>
                <a:ea typeface="Verdana" panose="020B0604030504040204" pitchFamily="34" charset="0"/>
              </a:rPr>
              <a:t>Datawarehousing</a:t>
            </a:r>
            <a:endParaRPr lang="en-US" sz="2800" b="1" dirty="0">
              <a:latin typeface="Verdana" panose="020B0604030504040204" pitchFamily="34" charset="0"/>
              <a:ea typeface="Verdana" panose="020B0604030504040204" pitchFamily="34" charset="0"/>
            </a:endParaRPr>
          </a:p>
        </p:txBody>
      </p:sp>
      <p:pic>
        <p:nvPicPr>
          <p:cNvPr id="11" name="Picture 10">
            <a:extLst>
              <a:ext uri="{FF2B5EF4-FFF2-40B4-BE49-F238E27FC236}">
                <a16:creationId xmlns:a16="http://schemas.microsoft.com/office/drawing/2014/main" id="{38A76BB5-9E18-490C-8796-DBC3BD7FCDFE}"/>
              </a:ext>
            </a:extLst>
          </p:cNvPr>
          <p:cNvPicPr>
            <a:picLocks noChangeAspect="1"/>
          </p:cNvPicPr>
          <p:nvPr/>
        </p:nvPicPr>
        <p:blipFill>
          <a:blip r:embed="rId3"/>
          <a:stretch>
            <a:fillRect/>
          </a:stretch>
        </p:blipFill>
        <p:spPr>
          <a:xfrm>
            <a:off x="63500" y="3657600"/>
            <a:ext cx="7239000" cy="2850822"/>
          </a:xfrm>
          <a:prstGeom prst="rect">
            <a:avLst/>
          </a:prstGeom>
        </p:spPr>
      </p:pic>
      <p:sp>
        <p:nvSpPr>
          <p:cNvPr id="12" name="Rectangle 3">
            <a:extLst>
              <a:ext uri="{FF2B5EF4-FFF2-40B4-BE49-F238E27FC236}">
                <a16:creationId xmlns:a16="http://schemas.microsoft.com/office/drawing/2014/main" id="{69820524-05F1-4B61-8C4E-14D4866EB824}"/>
              </a:ext>
            </a:extLst>
          </p:cNvPr>
          <p:cNvSpPr txBox="1">
            <a:spLocks noChangeArrowheads="1"/>
          </p:cNvSpPr>
          <p:nvPr/>
        </p:nvSpPr>
        <p:spPr>
          <a:xfrm>
            <a:off x="228600" y="557048"/>
            <a:ext cx="8442325" cy="4525963"/>
          </a:xfrm>
          <a:prstGeom prst="rect">
            <a:avLst/>
          </a:prstGeom>
          <a:noFill/>
        </p:spPr>
        <p:txBody>
          <a:bodyPr vert="horz" lIns="0" tIns="0" rIns="0" bIns="0" rtlCol="0">
            <a:normAutofit/>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92D050"/>
              </a:buClr>
              <a:buFont typeface="Wingdings" panose="05000000000000000000" pitchFamily="2" charset="2"/>
              <a:buChar char="Ø"/>
            </a:pPr>
            <a:r>
              <a:rPr lang="en-US" sz="1800" dirty="0">
                <a:solidFill>
                  <a:srgbClr val="292929"/>
                </a:solidFill>
              </a:rPr>
              <a:t>Cloud storage and processing for data science and analytics arose due to the costs and requirements of storing and processing the ever-increasing amount of data on earth</a:t>
            </a:r>
          </a:p>
          <a:p>
            <a:pPr marL="285750" indent="-285750">
              <a:buClr>
                <a:srgbClr val="92D050"/>
              </a:buClr>
              <a:buFont typeface="Wingdings" panose="05000000000000000000" pitchFamily="2" charset="2"/>
              <a:buChar char="Ø"/>
            </a:pPr>
            <a:r>
              <a:rPr lang="en-US" sz="1800" dirty="0">
                <a:solidFill>
                  <a:srgbClr val="54565A"/>
                </a:solidFill>
              </a:rPr>
              <a:t>A cloud data warehouse is a database stored as a managed service in a public cloud and optimized for scalable BI and analytics.</a:t>
            </a:r>
          </a:p>
          <a:p>
            <a:pPr marL="285750" indent="-285750">
              <a:buClr>
                <a:srgbClr val="92D050"/>
              </a:buClr>
              <a:buFont typeface="Wingdings" panose="05000000000000000000" pitchFamily="2" charset="2"/>
              <a:buChar char="Ø"/>
            </a:pPr>
            <a:r>
              <a:rPr lang="en-US" sz="1800" dirty="0">
                <a:solidFill>
                  <a:srgbClr val="54565A"/>
                </a:solidFill>
              </a:rPr>
              <a:t>Benefits</a:t>
            </a:r>
          </a:p>
          <a:p>
            <a:pPr marL="462146" lvl="2" indent="-285750">
              <a:buClr>
                <a:srgbClr val="92D050"/>
              </a:buClr>
            </a:pPr>
            <a:r>
              <a:rPr lang="en-US" sz="1800" dirty="0">
                <a:solidFill>
                  <a:srgbClr val="54565A"/>
                </a:solidFill>
              </a:rPr>
              <a:t>Faster Insights</a:t>
            </a:r>
          </a:p>
          <a:p>
            <a:pPr marL="462146" lvl="2" indent="-285750">
              <a:buClr>
                <a:srgbClr val="92D050"/>
              </a:buClr>
            </a:pPr>
            <a:r>
              <a:rPr lang="en-US" sz="1800" dirty="0">
                <a:solidFill>
                  <a:srgbClr val="54565A"/>
                </a:solidFill>
              </a:rPr>
              <a:t>Scalability</a:t>
            </a:r>
          </a:p>
          <a:p>
            <a:pPr marL="462146" lvl="2" indent="-285750">
              <a:buClr>
                <a:srgbClr val="92D050"/>
              </a:buClr>
            </a:pPr>
            <a:r>
              <a:rPr lang="en-US" sz="1800" dirty="0">
                <a:solidFill>
                  <a:srgbClr val="54565A"/>
                </a:solidFill>
              </a:rPr>
              <a:t>Overhead</a:t>
            </a:r>
          </a:p>
          <a:p>
            <a:endParaRPr lang="en-US" sz="2400" dirty="0"/>
          </a:p>
          <a:p>
            <a:pPr>
              <a:lnSpc>
                <a:spcPct val="90000"/>
              </a:lnSpc>
              <a:defRPr/>
            </a:pPr>
            <a:endParaRPr lang="en-US" dirty="0"/>
          </a:p>
        </p:txBody>
      </p:sp>
    </p:spTree>
    <p:extLst>
      <p:ext uri="{BB962C8B-B14F-4D97-AF65-F5344CB8AC3E}">
        <p14:creationId xmlns:p14="http://schemas.microsoft.com/office/powerpoint/2010/main" val="20752254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399" y="172732"/>
            <a:ext cx="8442325" cy="595313"/>
          </a:xfrm>
        </p:spPr>
        <p:txBody>
          <a:bodyPr/>
          <a:lstStyle/>
          <a:p>
            <a:r>
              <a:rPr lang="en-US" sz="2800" b="1" dirty="0"/>
              <a:t>Subject-Oriented</a:t>
            </a:r>
          </a:p>
        </p:txBody>
      </p:sp>
      <p:sp>
        <p:nvSpPr>
          <p:cNvPr id="9" name="Rectangle 3">
            <a:extLst>
              <a:ext uri="{FF2B5EF4-FFF2-40B4-BE49-F238E27FC236}">
                <a16:creationId xmlns:a16="http://schemas.microsoft.com/office/drawing/2014/main" id="{4FD8E820-B987-4897-8C20-AC96D0B63CE2}"/>
              </a:ext>
            </a:extLst>
          </p:cNvPr>
          <p:cNvSpPr txBox="1">
            <a:spLocks noChangeArrowheads="1"/>
          </p:cNvSpPr>
          <p:nvPr/>
        </p:nvSpPr>
        <p:spPr>
          <a:xfrm>
            <a:off x="152400" y="671513"/>
            <a:ext cx="8442325" cy="4525963"/>
          </a:xfrm>
          <a:prstGeom prst="rect">
            <a:avLst/>
          </a:prstGeom>
          <a:noFill/>
        </p:spPr>
        <p:txBody>
          <a:bodyPr vert="horz" lIns="0" tIns="0" rIns="0" bIns="0" rtlCol="0">
            <a:normAutofit/>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600" dirty="0"/>
              <a:t>Data is arranged and optimized to provide answer to questions from diverse functional areas</a:t>
            </a:r>
          </a:p>
          <a:p>
            <a:pPr marL="285750" lvl="1" indent="-285750">
              <a:buClr>
                <a:srgbClr val="92D050"/>
              </a:buClr>
              <a:buFont typeface="Wingdings" panose="05000000000000000000" pitchFamily="2" charset="2"/>
              <a:buChar char="Ø"/>
            </a:pPr>
            <a:r>
              <a:rPr lang="en-US" sz="1600" b="0" dirty="0"/>
              <a:t>Data is organized and summarized by topic</a:t>
            </a:r>
          </a:p>
          <a:p>
            <a:pPr lvl="2">
              <a:buClr>
                <a:srgbClr val="92D050"/>
              </a:buClr>
              <a:buFont typeface="Wingdings" pitchFamily="2" charset="2"/>
              <a:buChar char="Ø"/>
            </a:pPr>
            <a:r>
              <a:rPr lang="en-US" sz="1600" dirty="0"/>
              <a:t>Sales / Marketing / Finance / Distribution / Etc.</a:t>
            </a:r>
          </a:p>
          <a:p>
            <a:pPr lvl="2">
              <a:buFont typeface="Arial" panose="020B0604020202020204" pitchFamily="34" charset="0"/>
              <a:buNone/>
            </a:pPr>
            <a:endParaRPr lang="en-US" sz="2800" dirty="0">
              <a:solidFill>
                <a:srgbClr val="4E84C4"/>
              </a:solidFill>
              <a:latin typeface="+mj-lt"/>
              <a:ea typeface="+mj-ea"/>
              <a:cs typeface="+mj-cs"/>
            </a:endParaRPr>
          </a:p>
          <a:p>
            <a:pPr lvl="2">
              <a:buFont typeface="Arial" panose="020B0604020202020204" pitchFamily="34" charset="0"/>
              <a:buNone/>
            </a:pPr>
            <a:r>
              <a:rPr lang="en-US" sz="2800" b="1" dirty="0">
                <a:latin typeface="+mj-lt"/>
                <a:ea typeface="+mj-ea"/>
                <a:cs typeface="+mj-cs"/>
              </a:rPr>
              <a:t>Integrated</a:t>
            </a:r>
          </a:p>
          <a:p>
            <a:r>
              <a:rPr lang="en-US" sz="1600" dirty="0"/>
              <a:t>The data warehouse is a centralized, consolidated database that integrated data derived from the entire organization</a:t>
            </a:r>
          </a:p>
          <a:p>
            <a:pPr marL="285750" lvl="1" indent="-285750">
              <a:buClr>
                <a:srgbClr val="92D050"/>
              </a:buClr>
              <a:buFont typeface="Wingdings" panose="05000000000000000000" pitchFamily="2" charset="2"/>
              <a:buChar char="Ø"/>
            </a:pPr>
            <a:r>
              <a:rPr lang="en-US" sz="1600" b="0" dirty="0"/>
              <a:t>Multiple Sources</a:t>
            </a:r>
          </a:p>
          <a:p>
            <a:pPr marL="285750" lvl="1" indent="-285750">
              <a:buClr>
                <a:srgbClr val="92D050"/>
              </a:buClr>
              <a:buFont typeface="Wingdings" panose="05000000000000000000" pitchFamily="2" charset="2"/>
              <a:buChar char="Ø"/>
            </a:pPr>
            <a:r>
              <a:rPr lang="en-US" sz="1600" b="0" dirty="0"/>
              <a:t>Diverse Sources</a:t>
            </a:r>
          </a:p>
          <a:p>
            <a:pPr marL="285750" lvl="1" indent="-285750">
              <a:buClr>
                <a:srgbClr val="92D050"/>
              </a:buClr>
              <a:buFont typeface="Wingdings" panose="05000000000000000000" pitchFamily="2" charset="2"/>
              <a:buChar char="Ø"/>
            </a:pPr>
            <a:r>
              <a:rPr lang="en-US" sz="1600" b="0" dirty="0"/>
              <a:t>Diverse Formats</a:t>
            </a:r>
          </a:p>
          <a:p>
            <a:pPr lvl="2">
              <a:buFont typeface="Arial" panose="020B0604020202020204" pitchFamily="34" charset="0"/>
              <a:buNone/>
            </a:pPr>
            <a:endParaRPr lang="en-US" sz="2800" dirty="0">
              <a:solidFill>
                <a:srgbClr val="4E84C4"/>
              </a:solidFill>
              <a:latin typeface="+mj-lt"/>
              <a:ea typeface="+mj-ea"/>
              <a:cs typeface="+mj-cs"/>
            </a:endParaRPr>
          </a:p>
        </p:txBody>
      </p:sp>
    </p:spTree>
    <p:extLst>
      <p:ext uri="{BB962C8B-B14F-4D97-AF65-F5344CB8AC3E}">
        <p14:creationId xmlns:p14="http://schemas.microsoft.com/office/powerpoint/2010/main" val="38443758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399" y="172732"/>
            <a:ext cx="8442325" cy="595313"/>
          </a:xfrm>
        </p:spPr>
        <p:txBody>
          <a:bodyPr/>
          <a:lstStyle/>
          <a:p>
            <a:r>
              <a:rPr lang="en-US" sz="2800" b="1" dirty="0"/>
              <a:t>Time-Variant</a:t>
            </a:r>
          </a:p>
        </p:txBody>
      </p:sp>
      <p:sp>
        <p:nvSpPr>
          <p:cNvPr id="9" name="Rectangle 3">
            <a:extLst>
              <a:ext uri="{FF2B5EF4-FFF2-40B4-BE49-F238E27FC236}">
                <a16:creationId xmlns:a16="http://schemas.microsoft.com/office/drawing/2014/main" id="{4FD8E820-B987-4897-8C20-AC96D0B63CE2}"/>
              </a:ext>
            </a:extLst>
          </p:cNvPr>
          <p:cNvSpPr txBox="1">
            <a:spLocks noChangeArrowheads="1"/>
          </p:cNvSpPr>
          <p:nvPr/>
        </p:nvSpPr>
        <p:spPr>
          <a:xfrm>
            <a:off x="158826" y="914400"/>
            <a:ext cx="8442325" cy="4525963"/>
          </a:xfrm>
          <a:prstGeom prst="rect">
            <a:avLst/>
          </a:prstGeom>
          <a:noFill/>
        </p:spPr>
        <p:txBody>
          <a:bodyPr vert="horz" lIns="0" tIns="0" rIns="0" bIns="0" rtlCol="0">
            <a:normAutofit/>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The Data Warehouse represents the flow of data through time</a:t>
            </a:r>
          </a:p>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Can contain projected data from statistical models</a:t>
            </a:r>
          </a:p>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Data is periodically uploaded then time-dependent data is recomputed</a:t>
            </a:r>
          </a:p>
          <a:p>
            <a:pPr lvl="2">
              <a:buFont typeface="Arial" panose="020B0604020202020204" pitchFamily="34" charset="0"/>
              <a:buNone/>
            </a:pPr>
            <a:endParaRPr lang="en-US" sz="2800" dirty="0">
              <a:solidFill>
                <a:srgbClr val="4E84C4"/>
              </a:solidFill>
              <a:latin typeface="+mj-lt"/>
              <a:ea typeface="+mj-ea"/>
              <a:cs typeface="+mj-cs"/>
            </a:endParaRPr>
          </a:p>
          <a:p>
            <a:pPr marL="0" lvl="2" indent="0">
              <a:buClr>
                <a:srgbClr val="92D050"/>
              </a:buClr>
              <a:buNone/>
            </a:pPr>
            <a:r>
              <a:rPr lang="en-US" sz="2800" b="1" dirty="0">
                <a:latin typeface="+mj-lt"/>
                <a:ea typeface="+mj-ea"/>
                <a:cs typeface="+mj-cs"/>
              </a:rPr>
              <a:t>Nonvolatile</a:t>
            </a:r>
          </a:p>
          <a:p>
            <a:pPr marL="285750" marR="0" lvl="0" indent="-285750" algn="l" defTabSz="914400" rtl="0" eaLnBrk="1" fontAlgn="base" latinLnBrk="0" hangingPunct="1">
              <a:lnSpc>
                <a:spcPct val="105000"/>
              </a:lnSpc>
              <a:spcBef>
                <a:spcPct val="20000"/>
              </a:spcBef>
              <a:spcAft>
                <a:spcPct val="0"/>
              </a:spcAft>
              <a:buClr>
                <a:srgbClr val="92D050"/>
              </a:buClr>
              <a:buSzPct val="1200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Once data is entered it is NEVER removed</a:t>
            </a:r>
          </a:p>
          <a:p>
            <a:pPr marL="285750" marR="0" lvl="0" indent="-285750" algn="l" defTabSz="914400" rtl="0" eaLnBrk="1" fontAlgn="base" latinLnBrk="0" hangingPunct="1">
              <a:lnSpc>
                <a:spcPct val="105000"/>
              </a:lnSpc>
              <a:spcBef>
                <a:spcPct val="20000"/>
              </a:spcBef>
              <a:spcAft>
                <a:spcPct val="0"/>
              </a:spcAft>
              <a:buClr>
                <a:srgbClr val="92D050"/>
              </a:buClr>
              <a:buSzPct val="120000"/>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Represents the company’s entire history</a:t>
            </a:r>
          </a:p>
          <a:p>
            <a:pPr marL="628650" marR="0" lvl="1" indent="-285750" algn="l" defTabSz="914400" rtl="0" eaLnBrk="1" fontAlgn="base" latinLnBrk="0" hangingPunct="1">
              <a:lnSpc>
                <a:spcPct val="105000"/>
              </a:lnSpc>
              <a:spcBef>
                <a:spcPct val="20000"/>
              </a:spcBef>
              <a:spcAft>
                <a:spcPct val="0"/>
              </a:spcAft>
              <a:buClr>
                <a:srgbClr val="92D050"/>
              </a:buClr>
              <a:buSzPct val="90000"/>
              <a:buFont typeface="Wingdings" panose="05000000000000000000" pitchFamily="2" charset="2"/>
              <a:buChar char="v"/>
              <a:tabLst/>
              <a:defRPr/>
            </a:pPr>
            <a:r>
              <a:rPr kumimoji="0" lang="en-US" sz="1600" b="0" i="0" u="none" strike="noStrike" kern="0" cap="none" spc="0" normalizeH="0" baseline="0" noProof="0" dirty="0">
                <a:ln>
                  <a:noFill/>
                </a:ln>
                <a:solidFill>
                  <a:srgbClr val="000000"/>
                </a:solidFill>
                <a:effectLst/>
                <a:uLnTx/>
                <a:uFillTx/>
                <a:latin typeface="Arial"/>
              </a:rPr>
              <a:t>Near term history is continually added to it</a:t>
            </a:r>
          </a:p>
          <a:p>
            <a:pPr marL="628650" marR="0" lvl="1" indent="-285750" algn="l" defTabSz="914400" rtl="0" eaLnBrk="1" fontAlgn="base" latinLnBrk="0" hangingPunct="1">
              <a:lnSpc>
                <a:spcPct val="105000"/>
              </a:lnSpc>
              <a:spcBef>
                <a:spcPct val="20000"/>
              </a:spcBef>
              <a:spcAft>
                <a:spcPct val="0"/>
              </a:spcAft>
              <a:buClr>
                <a:srgbClr val="92D050"/>
              </a:buClr>
              <a:buSzPct val="90000"/>
              <a:buFont typeface="Wingdings" panose="05000000000000000000" pitchFamily="2" charset="2"/>
              <a:buChar char="v"/>
              <a:tabLst/>
              <a:defRPr/>
            </a:pPr>
            <a:r>
              <a:rPr kumimoji="0" lang="en-US" sz="1600" b="0" i="0" u="none" strike="noStrike" kern="0" cap="none" spc="0" normalizeH="0" baseline="0" noProof="0" dirty="0">
                <a:ln>
                  <a:noFill/>
                </a:ln>
                <a:solidFill>
                  <a:srgbClr val="000000"/>
                </a:solidFill>
                <a:effectLst/>
                <a:uLnTx/>
                <a:uFillTx/>
                <a:latin typeface="Arial"/>
              </a:rPr>
              <a:t>Always growing</a:t>
            </a:r>
          </a:p>
          <a:p>
            <a:pPr marL="628650" marR="0" lvl="1" indent="-285750" algn="l" defTabSz="914400" rtl="0" eaLnBrk="1" fontAlgn="base" latinLnBrk="0" hangingPunct="1">
              <a:lnSpc>
                <a:spcPct val="105000"/>
              </a:lnSpc>
              <a:spcBef>
                <a:spcPct val="20000"/>
              </a:spcBef>
              <a:spcAft>
                <a:spcPct val="0"/>
              </a:spcAft>
              <a:buClr>
                <a:srgbClr val="92D050"/>
              </a:buClr>
              <a:buSzPct val="90000"/>
              <a:buFont typeface="Wingdings" panose="05000000000000000000" pitchFamily="2" charset="2"/>
              <a:buChar char="v"/>
              <a:tabLst/>
              <a:defRPr/>
            </a:pPr>
            <a:r>
              <a:rPr kumimoji="0" lang="en-US" sz="1600" b="0" i="0" u="none" strike="noStrike" kern="0" cap="none" spc="0" normalizeH="0" baseline="0" noProof="0" dirty="0">
                <a:ln>
                  <a:noFill/>
                </a:ln>
                <a:solidFill>
                  <a:srgbClr val="000000"/>
                </a:solidFill>
                <a:effectLst/>
                <a:uLnTx/>
                <a:uFillTx/>
                <a:latin typeface="Arial"/>
              </a:rPr>
              <a:t>Must support terabyte databases and multiprocessors</a:t>
            </a:r>
          </a:p>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600" b="0" i="0" u="none" strike="noStrike" kern="0" cap="none" spc="0" normalizeH="0" baseline="0" noProof="0" dirty="0">
                <a:ln>
                  <a:noFill/>
                </a:ln>
                <a:solidFill>
                  <a:srgbClr val="000000"/>
                </a:solidFill>
                <a:effectLst/>
                <a:uLnTx/>
                <a:uFillTx/>
                <a:latin typeface="Arial"/>
                <a:ea typeface="+mn-ea"/>
                <a:cs typeface="+mn-cs"/>
              </a:rPr>
              <a:t>Read-Only database for data analysis and query processing</a:t>
            </a:r>
          </a:p>
          <a:p>
            <a:pPr lvl="2">
              <a:buFont typeface="Arial" panose="020B0604020202020204" pitchFamily="34" charset="0"/>
              <a:buNone/>
            </a:pPr>
            <a:endParaRPr lang="en-US" sz="2800" dirty="0">
              <a:solidFill>
                <a:srgbClr val="4E84C4"/>
              </a:solidFill>
              <a:latin typeface="+mj-lt"/>
              <a:ea typeface="+mj-ea"/>
              <a:cs typeface="+mj-cs"/>
            </a:endParaRPr>
          </a:p>
        </p:txBody>
      </p:sp>
    </p:spTree>
    <p:extLst>
      <p:ext uri="{BB962C8B-B14F-4D97-AF65-F5344CB8AC3E}">
        <p14:creationId xmlns:p14="http://schemas.microsoft.com/office/powerpoint/2010/main" val="239301146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399" y="172732"/>
            <a:ext cx="8442325" cy="595313"/>
          </a:xfrm>
        </p:spPr>
        <p:txBody>
          <a:bodyPr/>
          <a:lstStyle/>
          <a:p>
            <a:r>
              <a:rPr kumimoji="0" lang="en-US" sz="2800" b="1" i="0" u="none" strike="noStrike" kern="0" cap="none" spc="0" normalizeH="0" baseline="0" noProof="0" dirty="0">
                <a:ln>
                  <a:noFill/>
                </a:ln>
                <a:effectLst/>
                <a:uLnTx/>
                <a:uFillTx/>
                <a:ea typeface="+mj-ea"/>
                <a:cs typeface="+mj-cs"/>
              </a:rPr>
              <a:t>Need for Data Warehousing</a:t>
            </a:r>
            <a:endParaRPr lang="en-US" sz="2800" b="1" dirty="0"/>
          </a:p>
        </p:txBody>
      </p:sp>
      <p:sp>
        <p:nvSpPr>
          <p:cNvPr id="9" name="Rectangle 3">
            <a:extLst>
              <a:ext uri="{FF2B5EF4-FFF2-40B4-BE49-F238E27FC236}">
                <a16:creationId xmlns:a16="http://schemas.microsoft.com/office/drawing/2014/main" id="{4FD8E820-B987-4897-8C20-AC96D0B63CE2}"/>
              </a:ext>
            </a:extLst>
          </p:cNvPr>
          <p:cNvSpPr txBox="1">
            <a:spLocks noChangeArrowheads="1"/>
          </p:cNvSpPr>
          <p:nvPr/>
        </p:nvSpPr>
        <p:spPr>
          <a:xfrm>
            <a:off x="152398" y="914400"/>
            <a:ext cx="8442325" cy="4525963"/>
          </a:xfrm>
          <a:prstGeom prst="rect">
            <a:avLst/>
          </a:prstGeom>
          <a:noFill/>
        </p:spPr>
        <p:txBody>
          <a:bodyPr vert="horz" lIns="0" tIns="0" rIns="0" bIns="0" rtlCol="0">
            <a:normAutofit/>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Better business intelligence for end-users</a:t>
            </a:r>
          </a:p>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Reduction in time to locate, access, and analyze information</a:t>
            </a:r>
          </a:p>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Consolidation of disparate information sources</a:t>
            </a:r>
          </a:p>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Strategic advantage over competitors</a:t>
            </a:r>
          </a:p>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Faster time-to-market for products and services</a:t>
            </a:r>
          </a:p>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Replacement of older, less-responsive decision support systems</a:t>
            </a:r>
          </a:p>
          <a:p>
            <a:pPr marL="122238" marR="0" lvl="0" indent="-122238" algn="l" defTabSz="914400" rtl="0" eaLnBrk="1" fontAlgn="base" latinLnBrk="0" hangingPunct="1">
              <a:lnSpc>
                <a:spcPct val="105000"/>
              </a:lnSpc>
              <a:spcBef>
                <a:spcPct val="20000"/>
              </a:spcBef>
              <a:spcAft>
                <a:spcPct val="0"/>
              </a:spcAft>
              <a:buClr>
                <a:srgbClr val="92D050"/>
              </a:buClr>
              <a:buSzPct val="120000"/>
              <a:buFontTx/>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Reduction in demand on IS to generate reports</a:t>
            </a:r>
          </a:p>
          <a:p>
            <a:pPr lvl="2">
              <a:buFont typeface="Arial" panose="020B0604020202020204" pitchFamily="34" charset="0"/>
              <a:buNone/>
            </a:pPr>
            <a:endParaRPr lang="en-US" sz="2800" dirty="0">
              <a:solidFill>
                <a:srgbClr val="4E84C4"/>
              </a:solidFill>
              <a:latin typeface="+mj-lt"/>
              <a:ea typeface="+mj-ea"/>
              <a:cs typeface="+mj-cs"/>
            </a:endParaRPr>
          </a:p>
        </p:txBody>
      </p:sp>
      <p:grpSp>
        <p:nvGrpSpPr>
          <p:cNvPr id="6" name="Group 5">
            <a:extLst>
              <a:ext uri="{FF2B5EF4-FFF2-40B4-BE49-F238E27FC236}">
                <a16:creationId xmlns:a16="http://schemas.microsoft.com/office/drawing/2014/main" id="{C649299F-B0DF-4D16-9617-B1B97A65F0A0}"/>
              </a:ext>
            </a:extLst>
          </p:cNvPr>
          <p:cNvGrpSpPr/>
          <p:nvPr/>
        </p:nvGrpSpPr>
        <p:grpSpPr>
          <a:xfrm>
            <a:off x="416859" y="3505199"/>
            <a:ext cx="8517125" cy="2907205"/>
            <a:chOff x="421833" y="1074457"/>
            <a:chExt cx="8539045" cy="5223200"/>
          </a:xfrm>
        </p:grpSpPr>
        <p:pic>
          <p:nvPicPr>
            <p:cNvPr id="7" name="Picture 4" descr="pe01561_">
              <a:extLst>
                <a:ext uri="{FF2B5EF4-FFF2-40B4-BE49-F238E27FC236}">
                  <a16:creationId xmlns:a16="http://schemas.microsoft.com/office/drawing/2014/main" id="{38F591E3-C74F-4B7A-A730-0478E0FD73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9108" y="3614309"/>
              <a:ext cx="4643364" cy="2299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AutoShape 5">
              <a:extLst>
                <a:ext uri="{FF2B5EF4-FFF2-40B4-BE49-F238E27FC236}">
                  <a16:creationId xmlns:a16="http://schemas.microsoft.com/office/drawing/2014/main" id="{3907B994-F804-403D-B5CE-629F657B5F06}"/>
                </a:ext>
              </a:extLst>
            </p:cNvPr>
            <p:cNvSpPr>
              <a:spLocks noChangeArrowheads="1"/>
            </p:cNvSpPr>
            <p:nvPr/>
          </p:nvSpPr>
          <p:spPr bwMode="auto">
            <a:xfrm>
              <a:off x="2144805" y="1074457"/>
              <a:ext cx="3054031" cy="995937"/>
            </a:xfrm>
            <a:prstGeom prst="wedgeRoundRectCallout">
              <a:avLst>
                <a:gd name="adj1" fmla="val 18526"/>
                <a:gd name="adj2" fmla="val 165269"/>
                <a:gd name="adj3" fmla="val 16667"/>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nSpc>
                  <a:spcPct val="90000"/>
                </a:lnSpc>
                <a:spcBef>
                  <a:spcPct val="20000"/>
                </a:spcBef>
                <a:buClr>
                  <a:schemeClr val="tx1"/>
                </a:buClr>
                <a:defRPr/>
              </a:pPr>
              <a:r>
                <a:rPr lang="en-US" altLang="en-US" sz="1200" b="0" dirty="0">
                  <a:latin typeface="+mn-lt"/>
                </a:rPr>
                <a:t>Who are the potential Customers ?</a:t>
              </a:r>
            </a:p>
            <a:p>
              <a:pPr>
                <a:lnSpc>
                  <a:spcPct val="90000"/>
                </a:lnSpc>
                <a:spcBef>
                  <a:spcPct val="20000"/>
                </a:spcBef>
                <a:buClr>
                  <a:schemeClr val="tx1"/>
                </a:buClr>
                <a:defRPr/>
              </a:pPr>
              <a:r>
                <a:rPr lang="en-US" altLang="en-US" sz="1200" b="0" dirty="0">
                  <a:latin typeface="+mn-lt"/>
                </a:rPr>
                <a:t>Which Products are sold the most ?</a:t>
              </a:r>
            </a:p>
            <a:p>
              <a:pPr>
                <a:lnSpc>
                  <a:spcPct val="90000"/>
                </a:lnSpc>
                <a:spcBef>
                  <a:spcPct val="20000"/>
                </a:spcBef>
                <a:buClr>
                  <a:schemeClr val="tx1"/>
                </a:buClr>
                <a:defRPr/>
              </a:pPr>
              <a:endParaRPr lang="en-US" altLang="en-US" sz="1600" b="0" dirty="0">
                <a:latin typeface="+mn-lt"/>
              </a:endParaRPr>
            </a:p>
          </p:txBody>
        </p:sp>
        <p:sp>
          <p:nvSpPr>
            <p:cNvPr id="11" name="AutoShape 6">
              <a:extLst>
                <a:ext uri="{FF2B5EF4-FFF2-40B4-BE49-F238E27FC236}">
                  <a16:creationId xmlns:a16="http://schemas.microsoft.com/office/drawing/2014/main" id="{0841F11A-5665-4414-B3B8-2C1FF8E79AF7}"/>
                </a:ext>
              </a:extLst>
            </p:cNvPr>
            <p:cNvSpPr>
              <a:spLocks noChangeArrowheads="1"/>
            </p:cNvSpPr>
            <p:nvPr/>
          </p:nvSpPr>
          <p:spPr bwMode="auto">
            <a:xfrm>
              <a:off x="5443980" y="1183348"/>
              <a:ext cx="2734304" cy="1471455"/>
            </a:xfrm>
            <a:prstGeom prst="wedgeRoundRectCallout">
              <a:avLst>
                <a:gd name="adj1" fmla="val -57330"/>
                <a:gd name="adj2" fmla="val 149972"/>
                <a:gd name="adj3" fmla="val 16667"/>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nSpc>
                  <a:spcPct val="90000"/>
                </a:lnSpc>
                <a:spcBef>
                  <a:spcPct val="20000"/>
                </a:spcBef>
                <a:buClr>
                  <a:schemeClr val="tx1"/>
                </a:buClr>
                <a:defRPr/>
              </a:pPr>
              <a:r>
                <a:rPr lang="en-US" altLang="en-US" sz="1200" b="0" dirty="0">
                  <a:latin typeface="+mn-lt"/>
                </a:rPr>
                <a:t>What are the region-wise preferences ?</a:t>
              </a:r>
            </a:p>
            <a:p>
              <a:pPr eaLnBrk="1" hangingPunct="1">
                <a:defRPr/>
              </a:pPr>
              <a:r>
                <a:rPr lang="en-US" altLang="en-US" sz="1200" b="0" dirty="0">
                  <a:latin typeface="+mn-lt"/>
                </a:rPr>
                <a:t>What are the competitor products ?</a:t>
              </a:r>
            </a:p>
          </p:txBody>
        </p:sp>
        <p:sp>
          <p:nvSpPr>
            <p:cNvPr id="12" name="AutoShape 7">
              <a:extLst>
                <a:ext uri="{FF2B5EF4-FFF2-40B4-BE49-F238E27FC236}">
                  <a16:creationId xmlns:a16="http://schemas.microsoft.com/office/drawing/2014/main" id="{30113F85-EEBB-4FB0-89E0-1C091FF96717}"/>
                </a:ext>
              </a:extLst>
            </p:cNvPr>
            <p:cNvSpPr>
              <a:spLocks noChangeArrowheads="1"/>
            </p:cNvSpPr>
            <p:nvPr/>
          </p:nvSpPr>
          <p:spPr bwMode="auto">
            <a:xfrm>
              <a:off x="6566978" y="2896855"/>
              <a:ext cx="2393900" cy="1717376"/>
            </a:xfrm>
            <a:prstGeom prst="wedgeRoundRectCallout">
              <a:avLst>
                <a:gd name="adj1" fmla="val -63932"/>
                <a:gd name="adj2" fmla="val 56448"/>
                <a:gd name="adj3" fmla="val 16667"/>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nSpc>
                  <a:spcPct val="90000"/>
                </a:lnSpc>
                <a:spcBef>
                  <a:spcPct val="20000"/>
                </a:spcBef>
                <a:buClr>
                  <a:schemeClr val="tx1"/>
                </a:buClr>
                <a:defRPr/>
              </a:pPr>
              <a:r>
                <a:rPr lang="en-US" altLang="en-US" sz="1200" b="0" dirty="0">
                  <a:latin typeface="+mn-lt"/>
                </a:rPr>
                <a:t>What are the projected sales ?</a:t>
              </a:r>
            </a:p>
            <a:p>
              <a:pPr>
                <a:lnSpc>
                  <a:spcPct val="90000"/>
                </a:lnSpc>
                <a:spcBef>
                  <a:spcPct val="20000"/>
                </a:spcBef>
                <a:buClr>
                  <a:schemeClr val="tx1"/>
                </a:buClr>
                <a:defRPr/>
              </a:pPr>
              <a:r>
                <a:rPr lang="en-US" altLang="en-US" sz="1200" b="0" dirty="0">
                  <a:latin typeface="+mn-lt"/>
                </a:rPr>
                <a:t>What if you sale more quantity of a particular product ?</a:t>
              </a:r>
            </a:p>
            <a:p>
              <a:pPr>
                <a:lnSpc>
                  <a:spcPct val="90000"/>
                </a:lnSpc>
                <a:spcBef>
                  <a:spcPct val="20000"/>
                </a:spcBef>
                <a:buClr>
                  <a:schemeClr val="tx1"/>
                </a:buClr>
                <a:defRPr/>
              </a:pPr>
              <a:endParaRPr lang="en-US" altLang="en-US" sz="1600" b="0" dirty="0">
                <a:latin typeface="+mn-lt"/>
              </a:endParaRPr>
            </a:p>
          </p:txBody>
        </p:sp>
        <p:sp>
          <p:nvSpPr>
            <p:cNvPr id="13" name="AutoShape 8">
              <a:extLst>
                <a:ext uri="{FF2B5EF4-FFF2-40B4-BE49-F238E27FC236}">
                  <a16:creationId xmlns:a16="http://schemas.microsoft.com/office/drawing/2014/main" id="{F65D7560-1D39-46A4-8533-9C036B5B62A0}"/>
                </a:ext>
              </a:extLst>
            </p:cNvPr>
            <p:cNvSpPr>
              <a:spLocks noChangeArrowheads="1"/>
            </p:cNvSpPr>
            <p:nvPr/>
          </p:nvSpPr>
          <p:spPr bwMode="auto">
            <a:xfrm>
              <a:off x="421833" y="2477988"/>
              <a:ext cx="2395326" cy="1471455"/>
            </a:xfrm>
            <a:prstGeom prst="wedgeRoundRectCallout">
              <a:avLst>
                <a:gd name="adj1" fmla="val 59819"/>
                <a:gd name="adj2" fmla="val 72306"/>
                <a:gd name="adj3" fmla="val 16667"/>
              </a:avLst>
            </a:prstGeom>
            <a:ln>
              <a:headEnd/>
              <a:tailEnd/>
            </a:ln>
          </p:spPr>
          <p:style>
            <a:lnRef idx="2">
              <a:schemeClr val="accent1"/>
            </a:lnRef>
            <a:fillRef idx="1">
              <a:schemeClr val="lt1"/>
            </a:fillRef>
            <a:effectRef idx="0">
              <a:schemeClr val="accent1"/>
            </a:effectRef>
            <a:fontRef idx="minor">
              <a:schemeClr val="dk1"/>
            </a:fontRef>
          </p:style>
          <p:txBody>
            <a:bodyPr/>
            <a:lstStyle>
              <a:lvl1pPr eaLnBrk="0" hangingPunct="0">
                <a:defRPr sz="2800" b="1">
                  <a:solidFill>
                    <a:schemeClr val="tx1"/>
                  </a:solidFill>
                  <a:latin typeface="Arial" panose="020B0604020202020204" pitchFamily="34" charset="0"/>
                </a:defRPr>
              </a:lvl1pPr>
              <a:lvl2pPr marL="742950" indent="-285750" eaLnBrk="0" hangingPunct="0">
                <a:defRPr sz="2800" b="1">
                  <a:solidFill>
                    <a:schemeClr val="tx1"/>
                  </a:solidFill>
                  <a:latin typeface="Arial" panose="020B0604020202020204" pitchFamily="34" charset="0"/>
                </a:defRPr>
              </a:lvl2pPr>
              <a:lvl3pPr marL="1143000" indent="-228600" eaLnBrk="0" hangingPunct="0">
                <a:defRPr sz="2800" b="1">
                  <a:solidFill>
                    <a:schemeClr val="tx1"/>
                  </a:solidFill>
                  <a:latin typeface="Arial" panose="020B0604020202020204" pitchFamily="34" charset="0"/>
                </a:defRPr>
              </a:lvl3pPr>
              <a:lvl4pPr marL="1600200" indent="-228600" eaLnBrk="0" hangingPunct="0">
                <a:defRPr sz="2800" b="1">
                  <a:solidFill>
                    <a:schemeClr val="tx1"/>
                  </a:solidFill>
                  <a:latin typeface="Arial" panose="020B0604020202020204" pitchFamily="34" charset="0"/>
                </a:defRPr>
              </a:lvl4pPr>
              <a:lvl5pPr marL="2057400" indent="-228600" eaLnBrk="0" hangingPunct="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nSpc>
                  <a:spcPct val="90000"/>
                </a:lnSpc>
                <a:spcBef>
                  <a:spcPct val="20000"/>
                </a:spcBef>
                <a:buClr>
                  <a:schemeClr val="tx1"/>
                </a:buClr>
                <a:defRPr/>
              </a:pPr>
              <a:r>
                <a:rPr lang="en-US" altLang="en-US" sz="1200" b="0" dirty="0">
                  <a:latin typeface="+mn-lt"/>
                </a:rPr>
                <a:t>What will be the impact on revenue ?</a:t>
              </a:r>
            </a:p>
            <a:p>
              <a:pPr>
                <a:lnSpc>
                  <a:spcPct val="90000"/>
                </a:lnSpc>
                <a:spcBef>
                  <a:spcPct val="20000"/>
                </a:spcBef>
                <a:buClr>
                  <a:schemeClr val="tx1"/>
                </a:buClr>
                <a:defRPr/>
              </a:pPr>
              <a:r>
                <a:rPr lang="en-US" altLang="en-US" sz="1200" b="0" dirty="0">
                  <a:latin typeface="+mn-lt"/>
                </a:rPr>
                <a:t>Results of promotion schemes introduced ?</a:t>
              </a:r>
            </a:p>
            <a:p>
              <a:pPr>
                <a:lnSpc>
                  <a:spcPct val="90000"/>
                </a:lnSpc>
                <a:spcBef>
                  <a:spcPct val="20000"/>
                </a:spcBef>
                <a:buClr>
                  <a:schemeClr val="tx1"/>
                </a:buClr>
                <a:defRPr/>
              </a:pPr>
              <a:endParaRPr lang="en-US" altLang="en-US" sz="1600" b="0" dirty="0">
                <a:latin typeface="+mn-lt"/>
              </a:endParaRPr>
            </a:p>
          </p:txBody>
        </p:sp>
        <p:sp>
          <p:nvSpPr>
            <p:cNvPr id="14" name="Rectangle 10">
              <a:extLst>
                <a:ext uri="{FF2B5EF4-FFF2-40B4-BE49-F238E27FC236}">
                  <a16:creationId xmlns:a16="http://schemas.microsoft.com/office/drawing/2014/main" id="{7A26D915-E617-4BBB-928C-9C059D3E4340}"/>
                </a:ext>
              </a:extLst>
            </p:cNvPr>
            <p:cNvSpPr>
              <a:spLocks noChangeArrowheads="1"/>
            </p:cNvSpPr>
            <p:nvPr/>
          </p:nvSpPr>
          <p:spPr bwMode="auto">
            <a:xfrm>
              <a:off x="1439862" y="5976647"/>
              <a:ext cx="5360095" cy="321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2800" b="1">
                  <a:solidFill>
                    <a:schemeClr val="tx1"/>
                  </a:solidFill>
                  <a:latin typeface="Arial" panose="020B0604020202020204" pitchFamily="34" charset="0"/>
                </a:defRPr>
              </a:lvl1pPr>
              <a:lvl2pPr marL="742950" indent="-285750">
                <a:defRPr sz="2800" b="1">
                  <a:solidFill>
                    <a:schemeClr val="tx1"/>
                  </a:solidFill>
                  <a:latin typeface="Arial" panose="020B0604020202020204" pitchFamily="34" charset="0"/>
                </a:defRPr>
              </a:lvl2pPr>
              <a:lvl3pPr marL="1143000" indent="-228600">
                <a:defRPr sz="2800" b="1">
                  <a:solidFill>
                    <a:schemeClr val="tx1"/>
                  </a:solidFill>
                  <a:latin typeface="Arial" panose="020B0604020202020204" pitchFamily="34" charset="0"/>
                </a:defRPr>
              </a:lvl3pPr>
              <a:lvl4pPr marL="1600200" indent="-228600">
                <a:defRPr sz="2800" b="1">
                  <a:solidFill>
                    <a:schemeClr val="tx1"/>
                  </a:solidFill>
                  <a:latin typeface="Arial" panose="020B0604020202020204" pitchFamily="34" charset="0"/>
                </a:defRPr>
              </a:lvl4pPr>
              <a:lvl5pPr marL="2057400" indent="-228600">
                <a:defRPr sz="2800" b="1">
                  <a:solidFill>
                    <a:schemeClr val="tx1"/>
                  </a:solidFill>
                  <a:latin typeface="Arial" panose="020B0604020202020204" pitchFamily="34" charset="0"/>
                </a:defRPr>
              </a:lvl5pPr>
              <a:lvl6pPr marL="2514600" indent="-228600" eaLnBrk="0" fontAlgn="base" hangingPunct="0">
                <a:spcBef>
                  <a:spcPct val="0"/>
                </a:spcBef>
                <a:spcAft>
                  <a:spcPct val="0"/>
                </a:spcAft>
                <a:defRPr sz="2800" b="1">
                  <a:solidFill>
                    <a:schemeClr val="tx1"/>
                  </a:solidFill>
                  <a:latin typeface="Arial" panose="020B0604020202020204" pitchFamily="34" charset="0"/>
                </a:defRPr>
              </a:lvl6pPr>
              <a:lvl7pPr marL="2971800" indent="-228600" eaLnBrk="0" fontAlgn="base" hangingPunct="0">
                <a:spcBef>
                  <a:spcPct val="0"/>
                </a:spcBef>
                <a:spcAft>
                  <a:spcPct val="0"/>
                </a:spcAft>
                <a:defRPr sz="2800" b="1">
                  <a:solidFill>
                    <a:schemeClr val="tx1"/>
                  </a:solidFill>
                  <a:latin typeface="Arial" panose="020B0604020202020204" pitchFamily="34" charset="0"/>
                </a:defRPr>
              </a:lvl7pPr>
              <a:lvl8pPr marL="3429000" indent="-228600" eaLnBrk="0" fontAlgn="base" hangingPunct="0">
                <a:spcBef>
                  <a:spcPct val="0"/>
                </a:spcBef>
                <a:spcAft>
                  <a:spcPct val="0"/>
                </a:spcAft>
                <a:defRPr sz="2800" b="1">
                  <a:solidFill>
                    <a:schemeClr val="tx1"/>
                  </a:solidFill>
                  <a:latin typeface="Arial" panose="020B0604020202020204" pitchFamily="34" charset="0"/>
                </a:defRPr>
              </a:lvl8pPr>
              <a:lvl9pPr marL="3886200" indent="-228600" eaLnBrk="0" fontAlgn="base" hangingPunct="0">
                <a:spcBef>
                  <a:spcPct val="0"/>
                </a:spcBef>
                <a:spcAft>
                  <a:spcPct val="0"/>
                </a:spcAft>
                <a:defRPr sz="2800" b="1">
                  <a:solidFill>
                    <a:schemeClr val="tx1"/>
                  </a:solidFill>
                  <a:latin typeface="Arial" panose="020B0604020202020204" pitchFamily="34" charset="0"/>
                </a:defRPr>
              </a:lvl9pPr>
            </a:lstStyle>
            <a:p>
              <a:pPr>
                <a:lnSpc>
                  <a:spcPct val="90000"/>
                </a:lnSpc>
                <a:spcBef>
                  <a:spcPct val="20000"/>
                </a:spcBef>
                <a:buClr>
                  <a:schemeClr val="tx1"/>
                </a:buClr>
                <a:defRPr/>
              </a:pPr>
              <a:r>
                <a:rPr lang="en-US" altLang="en-US" sz="1600"/>
                <a:t>Need of </a:t>
              </a:r>
              <a:r>
                <a:rPr lang="en-US" altLang="en-US" sz="1600">
                  <a:latin typeface="+mn-lt"/>
                </a:rPr>
                <a:t>Intelligent</a:t>
              </a:r>
              <a:r>
                <a:rPr lang="en-US" altLang="en-US" sz="1600"/>
                <a:t> Information in Competitive Market</a:t>
              </a:r>
            </a:p>
          </p:txBody>
        </p:sp>
      </p:grpSp>
    </p:spTree>
    <p:extLst>
      <p:ext uri="{BB962C8B-B14F-4D97-AF65-F5344CB8AC3E}">
        <p14:creationId xmlns:p14="http://schemas.microsoft.com/office/powerpoint/2010/main" val="165096831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DeloitteW">
            <a:extLst>
              <a:ext uri="{FF2B5EF4-FFF2-40B4-BE49-F238E27FC236}">
                <a16:creationId xmlns:a16="http://schemas.microsoft.com/office/drawing/2014/main" id="{8C37282B-35A0-439F-A563-F1569DB95BF3}"/>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
        <p:nvSpPr>
          <p:cNvPr id="19" name="Rectangle 18">
            <a:extLst>
              <a:ext uri="{FF2B5EF4-FFF2-40B4-BE49-F238E27FC236}">
                <a16:creationId xmlns:a16="http://schemas.microsoft.com/office/drawing/2014/main" id="{3B2971A6-CDF7-4F97-A97C-75747EEF8DDE}"/>
              </a:ext>
            </a:extLst>
          </p:cNvPr>
          <p:cNvSpPr/>
          <p:nvPr/>
        </p:nvSpPr>
        <p:spPr>
          <a:xfrm>
            <a:off x="7566013" y="1092546"/>
            <a:ext cx="256086" cy="341449"/>
          </a:xfrm>
          <a:prstGeom prst="rect">
            <a:avLst/>
          </a:prstGeom>
          <a:solidFill>
            <a:schemeClr val="bg1"/>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ctangle 2">
            <a:extLst>
              <a:ext uri="{FF2B5EF4-FFF2-40B4-BE49-F238E27FC236}">
                <a16:creationId xmlns:a16="http://schemas.microsoft.com/office/drawing/2014/main" id="{2FC7B146-F861-483E-9721-214C4E44A83C}"/>
              </a:ext>
            </a:extLst>
          </p:cNvPr>
          <p:cNvSpPr>
            <a:spLocks noGrp="1" noChangeArrowheads="1"/>
          </p:cNvSpPr>
          <p:nvPr>
            <p:ph type="title"/>
          </p:nvPr>
        </p:nvSpPr>
        <p:spPr>
          <a:xfrm>
            <a:off x="152399" y="172732"/>
            <a:ext cx="8442325" cy="595313"/>
          </a:xfrm>
        </p:spPr>
        <p:txBody>
          <a:bodyPr/>
          <a:lstStyle/>
          <a:p>
            <a:r>
              <a:rPr kumimoji="0" lang="en-US" sz="2800" b="1" i="0" u="none" strike="noStrike" kern="0" cap="none" spc="0" normalizeH="0" baseline="0" noProof="0" dirty="0">
                <a:ln>
                  <a:noFill/>
                </a:ln>
                <a:effectLst/>
                <a:uLnTx/>
                <a:uFillTx/>
                <a:ea typeface="+mj-ea"/>
                <a:cs typeface="+mj-cs"/>
              </a:rPr>
              <a:t>12 Rules of a Data Warehouse</a:t>
            </a:r>
            <a:endParaRPr lang="en-US" sz="2800" b="1" dirty="0"/>
          </a:p>
        </p:txBody>
      </p:sp>
      <p:sp>
        <p:nvSpPr>
          <p:cNvPr id="6" name="Rectangle 3">
            <a:extLst>
              <a:ext uri="{FF2B5EF4-FFF2-40B4-BE49-F238E27FC236}">
                <a16:creationId xmlns:a16="http://schemas.microsoft.com/office/drawing/2014/main" id="{786BFADE-A9C4-48BF-B7C9-302C6C6815B9}"/>
              </a:ext>
            </a:extLst>
          </p:cNvPr>
          <p:cNvSpPr txBox="1">
            <a:spLocks noChangeArrowheads="1"/>
          </p:cNvSpPr>
          <p:nvPr/>
        </p:nvSpPr>
        <p:spPr>
          <a:xfrm>
            <a:off x="198127" y="768044"/>
            <a:ext cx="8556625" cy="5531653"/>
          </a:xfrm>
          <a:prstGeom prst="rect">
            <a:avLst/>
          </a:prstGeom>
          <a:noFill/>
        </p:spPr>
        <p:txBody>
          <a:bodyPr vert="horz" lIns="0" tIns="0" rIns="0" bIns="0" rtlCol="0">
            <a:normAutofit fontScale="92500" lnSpcReduction="20000"/>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indent="-342900">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Data Warehouse and Operational Environments are Separated</a:t>
            </a:r>
          </a:p>
          <a:p>
            <a:pPr marL="342900" indent="-342900">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Data is integrated</a:t>
            </a:r>
          </a:p>
          <a:p>
            <a:pPr marL="342900" indent="-342900">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Contains historical data over a long period of time</a:t>
            </a:r>
          </a:p>
          <a:p>
            <a:pPr marL="342900" indent="-342900">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Data is a snapshot data captured at a given point in time</a:t>
            </a:r>
          </a:p>
          <a:p>
            <a:pPr marL="342900" indent="-342900">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Data is subject-oriented</a:t>
            </a:r>
          </a:p>
          <a:p>
            <a:pPr marL="342900" indent="-342900">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Mainly read-only with periodic batch updates</a:t>
            </a:r>
          </a:p>
          <a:p>
            <a:pPr marL="342900" indent="-342900">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Development Life Cycle has a data driven approach versus the traditional process-driven approach</a:t>
            </a:r>
          </a:p>
          <a:p>
            <a:pPr marL="342900" indent="-342900">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Data contains several levels of detail</a:t>
            </a:r>
          </a:p>
          <a:p>
            <a:pPr marL="342900" lvl="1" indent="-342900">
              <a:buClr>
                <a:srgbClr val="92D050"/>
              </a:buClr>
              <a:buFont typeface="Wingdings" panose="05000000000000000000" pitchFamily="2" charset="2"/>
              <a:buChar char="Ø"/>
              <a:defRPr/>
            </a:pPr>
            <a:r>
              <a:rPr lang="en-US" sz="1900" b="0" dirty="0">
                <a:latin typeface="Arial" panose="020B0604020202020204" pitchFamily="34" charset="0"/>
                <a:cs typeface="Arial" panose="020B0604020202020204" pitchFamily="34" charset="0"/>
              </a:rPr>
              <a:t>Current, Old, Lightly Summarized, Highly Summarized</a:t>
            </a:r>
          </a:p>
          <a:p>
            <a:pPr marL="342900" indent="-342900">
              <a:lnSpc>
                <a:spcPct val="90000"/>
              </a:lnSpc>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Environment is characterized by Read-only transactions to very large data sets</a:t>
            </a:r>
          </a:p>
          <a:p>
            <a:pPr marL="342900" indent="-342900">
              <a:lnSpc>
                <a:spcPct val="90000"/>
              </a:lnSpc>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System that traces data sources, transformations, and storage</a:t>
            </a:r>
          </a:p>
          <a:p>
            <a:pPr marL="342900" indent="-342900">
              <a:lnSpc>
                <a:spcPct val="90000"/>
              </a:lnSpc>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Metadata is a critical component</a:t>
            </a:r>
          </a:p>
          <a:p>
            <a:pPr marL="342900" lvl="1" indent="-342900">
              <a:lnSpc>
                <a:spcPct val="90000"/>
              </a:lnSpc>
              <a:buClr>
                <a:srgbClr val="92D050"/>
              </a:buClr>
              <a:buFont typeface="Wingdings" panose="05000000000000000000" pitchFamily="2" charset="2"/>
              <a:buChar char="Ø"/>
              <a:defRPr/>
            </a:pPr>
            <a:r>
              <a:rPr lang="en-US" sz="1900" b="0" dirty="0">
                <a:latin typeface="Arial" panose="020B0604020202020204" pitchFamily="34" charset="0"/>
                <a:cs typeface="Arial" panose="020B0604020202020204" pitchFamily="34" charset="0"/>
              </a:rPr>
              <a:t>Source, transformation, integration, storage, relationships, history, </a:t>
            </a:r>
            <a:r>
              <a:rPr lang="en-US" sz="1900" b="0" dirty="0" err="1">
                <a:latin typeface="Arial" panose="020B0604020202020204" pitchFamily="34" charset="0"/>
                <a:cs typeface="Arial" panose="020B0604020202020204" pitchFamily="34" charset="0"/>
              </a:rPr>
              <a:t>etc</a:t>
            </a:r>
            <a:endParaRPr lang="en-US" sz="1900" b="0" dirty="0">
              <a:latin typeface="Arial" panose="020B0604020202020204" pitchFamily="34" charset="0"/>
              <a:cs typeface="Arial" panose="020B0604020202020204" pitchFamily="34" charset="0"/>
            </a:endParaRPr>
          </a:p>
          <a:p>
            <a:pPr marL="342900" indent="-342900">
              <a:lnSpc>
                <a:spcPct val="90000"/>
              </a:lnSpc>
              <a:buClr>
                <a:srgbClr val="92D050"/>
              </a:buClr>
              <a:buFont typeface="Wingdings" panose="05000000000000000000" pitchFamily="2" charset="2"/>
              <a:buChar char="Ø"/>
              <a:defRPr/>
            </a:pPr>
            <a:r>
              <a:rPr lang="en-US" sz="1900" dirty="0">
                <a:latin typeface="Arial" panose="020B0604020202020204" pitchFamily="34" charset="0"/>
                <a:cs typeface="Arial" panose="020B0604020202020204" pitchFamily="34" charset="0"/>
              </a:rPr>
              <a:t>Contains a chargeback mechanism for resource usage that enforces optimal use of data by end users</a:t>
            </a:r>
          </a:p>
          <a:p>
            <a:pPr>
              <a:lnSpc>
                <a:spcPct val="90000"/>
              </a:lnSpc>
            </a:pPr>
            <a:endParaRPr lang="en-US" dirty="0"/>
          </a:p>
        </p:txBody>
      </p:sp>
    </p:spTree>
    <p:extLst>
      <p:ext uri="{BB962C8B-B14F-4D97-AF65-F5344CB8AC3E}">
        <p14:creationId xmlns:p14="http://schemas.microsoft.com/office/powerpoint/2010/main" val="210323753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b="1" kern="0" dirty="0"/>
              <a:t>OLTP vs Data Warehouse</a:t>
            </a:r>
          </a:p>
        </p:txBody>
      </p:sp>
      <p:graphicFrame>
        <p:nvGraphicFramePr>
          <p:cNvPr id="6" name="Content Placeholder 6"/>
          <p:cNvGraphicFramePr>
            <a:graphicFrameLocks noGrp="1"/>
          </p:cNvGraphicFramePr>
          <p:nvPr>
            <p:extLst>
              <p:ext uri="{D42A27DB-BD31-4B8C-83A1-F6EECF244321}">
                <p14:modId xmlns:p14="http://schemas.microsoft.com/office/powerpoint/2010/main" val="4059622030"/>
              </p:ext>
            </p:extLst>
          </p:nvPr>
        </p:nvGraphicFramePr>
        <p:xfrm>
          <a:off x="365761" y="1594598"/>
          <a:ext cx="8168639" cy="4196602"/>
        </p:xfrm>
        <a:graphic>
          <a:graphicData uri="http://schemas.openxmlformats.org/drawingml/2006/table">
            <a:tbl>
              <a:tblPr/>
              <a:tblGrid>
                <a:gridCol w="3960613">
                  <a:extLst>
                    <a:ext uri="{9D8B030D-6E8A-4147-A177-3AD203B41FA5}">
                      <a16:colId xmlns:a16="http://schemas.microsoft.com/office/drawing/2014/main" val="20000"/>
                    </a:ext>
                  </a:extLst>
                </a:gridCol>
                <a:gridCol w="4208026">
                  <a:extLst>
                    <a:ext uri="{9D8B030D-6E8A-4147-A177-3AD203B41FA5}">
                      <a16:colId xmlns:a16="http://schemas.microsoft.com/office/drawing/2014/main" val="20001"/>
                    </a:ext>
                  </a:extLst>
                </a:gridCol>
              </a:tblGrid>
              <a:tr h="412129">
                <a:tc>
                  <a:txBody>
                    <a:bodyPr/>
                    <a:lstStyle>
                      <a:lvl1pPr>
                        <a:spcAft>
                          <a:spcPts val="1000"/>
                        </a:spcAft>
                        <a:buSzPct val="100000"/>
                        <a:buFont typeface="Arial" panose="020B0604020202020204" pitchFamily="34" charset="0"/>
                        <a:defRPr sz="1000">
                          <a:solidFill>
                            <a:schemeClr val="tx1"/>
                          </a:solidFill>
                          <a:latin typeface="Verdana" panose="020B0604030504040204" pitchFamily="34" charset="0"/>
                        </a:defRPr>
                      </a:lvl1pPr>
                      <a:lvl2pPr marL="742950" indent="-285750">
                        <a:spcAft>
                          <a:spcPts val="1000"/>
                        </a:spcAft>
                        <a:buSzPct val="100000"/>
                        <a:buFont typeface="Arial" panose="020B0604020202020204" pitchFamily="34" charset="0"/>
                        <a:defRPr sz="1000" b="1">
                          <a:solidFill>
                            <a:schemeClr val="tx1"/>
                          </a:solidFill>
                          <a:latin typeface="Verdana" panose="020B0604030504040204" pitchFamily="34" charset="0"/>
                        </a:defRPr>
                      </a:lvl2pPr>
                      <a:lvl3pPr marL="1143000" indent="-228600">
                        <a:spcAft>
                          <a:spcPts val="1000"/>
                        </a:spcAft>
                        <a:buSzPct val="100000"/>
                        <a:buFont typeface="Arial" panose="020B0604020202020204" pitchFamily="34" charset="0"/>
                        <a:defRPr sz="1000">
                          <a:solidFill>
                            <a:schemeClr val="tx1"/>
                          </a:solidFill>
                          <a:latin typeface="Verdana" panose="020B0604030504040204" pitchFamily="34" charset="0"/>
                        </a:defRPr>
                      </a:lvl3pPr>
                      <a:lvl4pPr marL="1600200" indent="-228600">
                        <a:spcAft>
                          <a:spcPts val="1000"/>
                        </a:spcAft>
                        <a:buSzPct val="100000"/>
                        <a:buFont typeface="Verdana" panose="020B0604030504040204" pitchFamily="34" charset="0"/>
                        <a:defRPr sz="1000">
                          <a:solidFill>
                            <a:schemeClr val="tx1"/>
                          </a:solidFill>
                          <a:latin typeface="Verdana" panose="020B0604030504040204" pitchFamily="34" charset="0"/>
                        </a:defRPr>
                      </a:lvl4pPr>
                      <a:lvl5pPr marL="2057400" indent="-228600" defTabSz="798513">
                        <a:spcAft>
                          <a:spcPts val="1000"/>
                        </a:spcAft>
                        <a:buSzPct val="100000"/>
                        <a:buFont typeface="Verdana" panose="020B0604030504040204" pitchFamily="34" charset="0"/>
                        <a:defRPr sz="1000">
                          <a:solidFill>
                            <a:schemeClr val="tx1"/>
                          </a:solidFill>
                          <a:latin typeface="Verdana" panose="020B0604030504040204" pitchFamily="34" charset="0"/>
                        </a:defRPr>
                      </a:lvl5pPr>
                      <a:lvl6pPr marL="25146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6pPr>
                      <a:lvl7pPr marL="29718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7pPr>
                      <a:lvl8pPr marL="34290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8pPr>
                      <a:lvl9pPr marL="38862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kern="1200" cap="none" normalizeH="0" baseline="0">
                          <a:ln>
                            <a:noFill/>
                          </a:ln>
                          <a:solidFill>
                            <a:schemeClr val="bg1"/>
                          </a:solidFill>
                          <a:effectLst/>
                          <a:latin typeface="+mn-lt"/>
                          <a:ea typeface="+mn-ea"/>
                          <a:cs typeface="+mn-cs"/>
                        </a:rPr>
                        <a:t>OLTP</a:t>
                      </a:r>
                    </a:p>
                  </a:txBody>
                  <a:tcPr marL="68724" marR="68724" marT="34295" marB="3429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a:spcAft>
                          <a:spcPts val="1000"/>
                        </a:spcAft>
                        <a:buSzPct val="100000"/>
                        <a:buFont typeface="Arial" panose="020B0604020202020204" pitchFamily="34" charset="0"/>
                        <a:defRPr sz="1000">
                          <a:solidFill>
                            <a:schemeClr val="tx1"/>
                          </a:solidFill>
                          <a:latin typeface="Verdana" panose="020B0604030504040204" pitchFamily="34" charset="0"/>
                        </a:defRPr>
                      </a:lvl1pPr>
                      <a:lvl2pPr marL="742950" indent="-285750">
                        <a:spcAft>
                          <a:spcPts val="1000"/>
                        </a:spcAft>
                        <a:buSzPct val="100000"/>
                        <a:buFont typeface="Arial" panose="020B0604020202020204" pitchFamily="34" charset="0"/>
                        <a:defRPr sz="1000" b="1">
                          <a:solidFill>
                            <a:schemeClr val="tx1"/>
                          </a:solidFill>
                          <a:latin typeface="Verdana" panose="020B0604030504040204" pitchFamily="34" charset="0"/>
                        </a:defRPr>
                      </a:lvl2pPr>
                      <a:lvl3pPr marL="1143000" indent="-228600">
                        <a:spcAft>
                          <a:spcPts val="1000"/>
                        </a:spcAft>
                        <a:buSzPct val="100000"/>
                        <a:buFont typeface="Arial" panose="020B0604020202020204" pitchFamily="34" charset="0"/>
                        <a:defRPr sz="1000">
                          <a:solidFill>
                            <a:schemeClr val="tx1"/>
                          </a:solidFill>
                          <a:latin typeface="Verdana" panose="020B0604030504040204" pitchFamily="34" charset="0"/>
                        </a:defRPr>
                      </a:lvl3pPr>
                      <a:lvl4pPr marL="1600200" indent="-228600">
                        <a:spcAft>
                          <a:spcPts val="1000"/>
                        </a:spcAft>
                        <a:buSzPct val="100000"/>
                        <a:buFont typeface="Verdana" panose="020B0604030504040204" pitchFamily="34" charset="0"/>
                        <a:defRPr sz="1000">
                          <a:solidFill>
                            <a:schemeClr val="tx1"/>
                          </a:solidFill>
                          <a:latin typeface="Verdana" panose="020B0604030504040204" pitchFamily="34" charset="0"/>
                        </a:defRPr>
                      </a:lvl4pPr>
                      <a:lvl5pPr marL="2057400" indent="-228600" defTabSz="798513">
                        <a:spcAft>
                          <a:spcPts val="1000"/>
                        </a:spcAft>
                        <a:buSzPct val="100000"/>
                        <a:buFont typeface="Verdana" panose="020B0604030504040204" pitchFamily="34" charset="0"/>
                        <a:defRPr sz="1000">
                          <a:solidFill>
                            <a:schemeClr val="tx1"/>
                          </a:solidFill>
                          <a:latin typeface="Verdana" panose="020B0604030504040204" pitchFamily="34" charset="0"/>
                        </a:defRPr>
                      </a:lvl5pPr>
                      <a:lvl6pPr marL="25146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6pPr>
                      <a:lvl7pPr marL="29718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7pPr>
                      <a:lvl8pPr marL="34290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8pPr>
                      <a:lvl9pPr marL="38862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kern="1200" cap="none" normalizeH="0" baseline="0">
                          <a:ln>
                            <a:noFill/>
                          </a:ln>
                          <a:solidFill>
                            <a:schemeClr val="bg1"/>
                          </a:solidFill>
                          <a:effectLst/>
                          <a:latin typeface="+mn-lt"/>
                          <a:ea typeface="+mn-ea"/>
                          <a:cs typeface="+mn-cs"/>
                        </a:rPr>
                        <a:t>WAREHOUSE (DSS)</a:t>
                      </a:r>
                    </a:p>
                  </a:txBody>
                  <a:tcPr marL="68724" marR="68724" marT="34295" marB="3429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3784473">
                <a:tc>
                  <a:txBody>
                    <a:bodyPr/>
                    <a:lstStyle>
                      <a:lvl1pPr>
                        <a:spcAft>
                          <a:spcPts val="1000"/>
                        </a:spcAft>
                        <a:buSzPct val="100000"/>
                        <a:buFont typeface="Arial" panose="020B0604020202020204" pitchFamily="34" charset="0"/>
                        <a:defRPr sz="1000">
                          <a:solidFill>
                            <a:schemeClr val="tx1"/>
                          </a:solidFill>
                          <a:latin typeface="Verdana" panose="020B0604030504040204" pitchFamily="34" charset="0"/>
                        </a:defRPr>
                      </a:lvl1pPr>
                      <a:lvl2pPr marL="742950" indent="-285750">
                        <a:spcAft>
                          <a:spcPts val="1000"/>
                        </a:spcAft>
                        <a:buSzPct val="100000"/>
                        <a:buFont typeface="Arial" panose="020B0604020202020204" pitchFamily="34" charset="0"/>
                        <a:defRPr sz="1000" b="1">
                          <a:solidFill>
                            <a:schemeClr val="tx1"/>
                          </a:solidFill>
                          <a:latin typeface="Verdana" panose="020B0604030504040204" pitchFamily="34" charset="0"/>
                        </a:defRPr>
                      </a:lvl2pPr>
                      <a:lvl3pPr marL="1143000" indent="-228600">
                        <a:spcAft>
                          <a:spcPts val="1000"/>
                        </a:spcAft>
                        <a:buSzPct val="100000"/>
                        <a:buFont typeface="Arial" panose="020B0604020202020204" pitchFamily="34" charset="0"/>
                        <a:defRPr sz="1000">
                          <a:solidFill>
                            <a:schemeClr val="tx1"/>
                          </a:solidFill>
                          <a:latin typeface="Verdana" panose="020B0604030504040204" pitchFamily="34" charset="0"/>
                        </a:defRPr>
                      </a:lvl3pPr>
                      <a:lvl4pPr marL="660400" indent="-203200">
                        <a:spcAft>
                          <a:spcPts val="1000"/>
                        </a:spcAft>
                        <a:buSzPct val="100000"/>
                        <a:buFont typeface="Verdana" panose="020B0604030504040204" pitchFamily="34" charset="0"/>
                        <a:defRPr sz="1000">
                          <a:solidFill>
                            <a:schemeClr val="tx1"/>
                          </a:solidFill>
                          <a:latin typeface="Verdana" panose="020B0604030504040204" pitchFamily="34" charset="0"/>
                        </a:defRPr>
                      </a:lvl4pPr>
                      <a:lvl5pPr marL="2057400" indent="-228600" defTabSz="798513">
                        <a:spcAft>
                          <a:spcPts val="1000"/>
                        </a:spcAft>
                        <a:buSzPct val="100000"/>
                        <a:buFont typeface="Verdana" panose="020B0604030504040204" pitchFamily="34" charset="0"/>
                        <a:defRPr sz="1000">
                          <a:solidFill>
                            <a:schemeClr val="tx1"/>
                          </a:solidFill>
                          <a:latin typeface="Verdana" panose="020B0604030504040204" pitchFamily="34" charset="0"/>
                        </a:defRPr>
                      </a:lvl5pPr>
                      <a:lvl6pPr marL="25146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6pPr>
                      <a:lvl7pPr marL="29718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7pPr>
                      <a:lvl8pPr marL="34290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8pPr>
                      <a:lvl9pPr marL="38862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9pPr>
                    </a:lstStyle>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Application Oriented</a:t>
                      </a: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Used to run business</a:t>
                      </a: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Detailed data</a:t>
                      </a: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Current data</a:t>
                      </a: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Isolated Data</a:t>
                      </a: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Repetitive access</a:t>
                      </a: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3"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Clerical User</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rgbClr val="000000"/>
                        </a:solidFill>
                        <a:effectLst/>
                        <a:latin typeface="Verdana" panose="020B0604030504040204" pitchFamily="34" charset="0"/>
                      </a:endParaRPr>
                    </a:p>
                  </a:txBody>
                  <a:tcPr marL="68724" marR="68724" marT="34295" marB="3429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2D050"/>
                    </a:solidFill>
                  </a:tcPr>
                </a:tc>
                <a:tc>
                  <a:txBody>
                    <a:bodyPr/>
                    <a:lstStyle>
                      <a:lvl1pPr>
                        <a:spcAft>
                          <a:spcPts val="1000"/>
                        </a:spcAft>
                        <a:buSzPct val="100000"/>
                        <a:buFont typeface="Arial" panose="020B0604020202020204" pitchFamily="34" charset="0"/>
                        <a:defRPr sz="1000">
                          <a:solidFill>
                            <a:schemeClr val="tx1"/>
                          </a:solidFill>
                          <a:latin typeface="Verdana" panose="020B0604030504040204" pitchFamily="34" charset="0"/>
                        </a:defRPr>
                      </a:lvl1pPr>
                      <a:lvl2pPr>
                        <a:spcAft>
                          <a:spcPts val="1000"/>
                        </a:spcAft>
                        <a:buSzPct val="100000"/>
                        <a:buFont typeface="Arial" panose="020B0604020202020204" pitchFamily="34" charset="0"/>
                        <a:defRPr sz="1000" b="1">
                          <a:solidFill>
                            <a:schemeClr val="tx1"/>
                          </a:solidFill>
                          <a:latin typeface="Verdana" panose="020B0604030504040204" pitchFamily="34" charset="0"/>
                        </a:defRPr>
                      </a:lvl2pPr>
                      <a:lvl3pPr marL="1143000" indent="-228600">
                        <a:spcAft>
                          <a:spcPts val="1000"/>
                        </a:spcAft>
                        <a:buSzPct val="100000"/>
                        <a:buFont typeface="Arial" panose="020B0604020202020204" pitchFamily="34" charset="0"/>
                        <a:defRPr sz="1000">
                          <a:solidFill>
                            <a:schemeClr val="tx1"/>
                          </a:solidFill>
                          <a:latin typeface="Verdana" panose="020B0604030504040204" pitchFamily="34" charset="0"/>
                        </a:defRPr>
                      </a:lvl3pPr>
                      <a:lvl4pPr marL="1600200" indent="-228600">
                        <a:spcAft>
                          <a:spcPts val="1000"/>
                        </a:spcAft>
                        <a:buSzPct val="100000"/>
                        <a:buFont typeface="Verdana" panose="020B0604030504040204" pitchFamily="34" charset="0"/>
                        <a:defRPr sz="1000">
                          <a:solidFill>
                            <a:schemeClr val="tx1"/>
                          </a:solidFill>
                          <a:latin typeface="Verdana" panose="020B0604030504040204" pitchFamily="34" charset="0"/>
                        </a:defRPr>
                      </a:lvl4pPr>
                      <a:lvl5pPr marL="2057400" indent="-228600" defTabSz="798513">
                        <a:spcAft>
                          <a:spcPts val="1000"/>
                        </a:spcAft>
                        <a:buSzPct val="100000"/>
                        <a:buFont typeface="Verdana" panose="020B0604030504040204" pitchFamily="34" charset="0"/>
                        <a:defRPr sz="1000">
                          <a:solidFill>
                            <a:schemeClr val="tx1"/>
                          </a:solidFill>
                          <a:latin typeface="Verdana" panose="020B0604030504040204" pitchFamily="34" charset="0"/>
                        </a:defRPr>
                      </a:lvl5pPr>
                      <a:lvl6pPr marL="25146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6pPr>
                      <a:lvl7pPr marL="29718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7pPr>
                      <a:lvl8pPr marL="34290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8pPr>
                      <a:lvl9pPr marL="38862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9pPr>
                    </a:lstStyle>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Subject Oriented</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Used to analyze business</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Summarized and refined</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Snapshot data</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Integrated Data</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Ad-hoc access</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endParaRPr kumimoji="0" lang="en-US" altLang="en-US" sz="1400" b="1" i="0" u="none" strike="noStrike" cap="none" normalizeH="0" baseline="0" dirty="0">
                        <a:ln>
                          <a:noFill/>
                        </a:ln>
                        <a:solidFill>
                          <a:srgbClr val="000000"/>
                        </a:solidFill>
                        <a:effectLst/>
                        <a:latin typeface="+mn-lt"/>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altLang="en-US" sz="1400" b="1" i="0" u="none" strike="noStrike" cap="none" normalizeH="0" baseline="0" dirty="0">
                          <a:ln>
                            <a:noFill/>
                          </a:ln>
                          <a:solidFill>
                            <a:srgbClr val="000000"/>
                          </a:solidFill>
                          <a:effectLst/>
                          <a:latin typeface="+mn-lt"/>
                        </a:rPr>
                        <a:t>Knowledge User (Manager)</a:t>
                      </a:r>
                    </a:p>
                    <a:p>
                      <a:pPr marL="0" marR="0" lvl="0" indent="0" algn="l" defTabSz="914400" rtl="0" eaLnBrk="1" fontAlgn="base" latinLnBrk="0" hangingPunct="1">
                        <a:lnSpc>
                          <a:spcPct val="100000"/>
                        </a:lnSpc>
                        <a:spcBef>
                          <a:spcPts val="60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Verdana" panose="020B0604030504040204" pitchFamily="34" charset="0"/>
                      </a:endParaRPr>
                    </a:p>
                  </a:txBody>
                  <a:tcPr marL="68724" marR="68724" marT="34295" marB="3429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1"/>
                  </a:ext>
                </a:extLst>
              </a:tr>
            </a:tbl>
          </a:graphicData>
        </a:graphic>
      </p:graphicFrame>
      <p:pic>
        <p:nvPicPr>
          <p:cNvPr id="4" name="DeloitteW">
            <a:extLst>
              <a:ext uri="{FF2B5EF4-FFF2-40B4-BE49-F238E27FC236}">
                <a16:creationId xmlns:a16="http://schemas.microsoft.com/office/drawing/2014/main" id="{7A7FE0F8-6360-405E-A5A4-215E431E6FE4}"/>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Tree>
    <p:extLst>
      <p:ext uri="{BB962C8B-B14F-4D97-AF65-F5344CB8AC3E}">
        <p14:creationId xmlns:p14="http://schemas.microsoft.com/office/powerpoint/2010/main" val="7558413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8600" y="457200"/>
            <a:ext cx="8439150" cy="698501"/>
          </a:xfrm>
        </p:spPr>
        <p:txBody>
          <a:bodyPr/>
          <a:lstStyle/>
          <a:p>
            <a:r>
              <a:rPr lang="en-US" sz="2800" b="1" dirty="0"/>
              <a:t>OLTP vs Data Warehouse</a:t>
            </a:r>
          </a:p>
        </p:txBody>
      </p:sp>
      <p:graphicFrame>
        <p:nvGraphicFramePr>
          <p:cNvPr id="4" name="Content Placeholder 6"/>
          <p:cNvGraphicFramePr>
            <a:graphicFrameLocks noGrp="1"/>
          </p:cNvGraphicFramePr>
          <p:nvPr>
            <p:extLst>
              <p:ext uri="{D42A27DB-BD31-4B8C-83A1-F6EECF244321}">
                <p14:modId xmlns:p14="http://schemas.microsoft.com/office/powerpoint/2010/main" val="2520324161"/>
              </p:ext>
            </p:extLst>
          </p:nvPr>
        </p:nvGraphicFramePr>
        <p:xfrm>
          <a:off x="365760" y="1694610"/>
          <a:ext cx="8168640" cy="4172790"/>
        </p:xfrm>
        <a:graphic>
          <a:graphicData uri="http://schemas.openxmlformats.org/drawingml/2006/table">
            <a:tbl>
              <a:tblPr/>
              <a:tblGrid>
                <a:gridCol w="3972355">
                  <a:extLst>
                    <a:ext uri="{9D8B030D-6E8A-4147-A177-3AD203B41FA5}">
                      <a16:colId xmlns:a16="http://schemas.microsoft.com/office/drawing/2014/main" val="20000"/>
                    </a:ext>
                  </a:extLst>
                </a:gridCol>
                <a:gridCol w="4196285">
                  <a:extLst>
                    <a:ext uri="{9D8B030D-6E8A-4147-A177-3AD203B41FA5}">
                      <a16:colId xmlns:a16="http://schemas.microsoft.com/office/drawing/2014/main" val="20001"/>
                    </a:ext>
                  </a:extLst>
                </a:gridCol>
              </a:tblGrid>
              <a:tr h="433659">
                <a:tc>
                  <a:txBody>
                    <a:bodyPr/>
                    <a:lstStyle>
                      <a:lvl1pPr>
                        <a:spcAft>
                          <a:spcPts val="1000"/>
                        </a:spcAft>
                        <a:buSzPct val="100000"/>
                        <a:buFont typeface="Arial" panose="020B0604020202020204" pitchFamily="34" charset="0"/>
                        <a:defRPr sz="1000">
                          <a:solidFill>
                            <a:schemeClr val="tx1"/>
                          </a:solidFill>
                          <a:latin typeface="Verdana" panose="020B0604030504040204" pitchFamily="34" charset="0"/>
                        </a:defRPr>
                      </a:lvl1pPr>
                      <a:lvl2pPr marL="742950" indent="-285750">
                        <a:spcAft>
                          <a:spcPts val="1000"/>
                        </a:spcAft>
                        <a:buSzPct val="100000"/>
                        <a:buFont typeface="Arial" panose="020B0604020202020204" pitchFamily="34" charset="0"/>
                        <a:defRPr sz="1000" b="1">
                          <a:solidFill>
                            <a:schemeClr val="tx1"/>
                          </a:solidFill>
                          <a:latin typeface="Verdana" panose="020B0604030504040204" pitchFamily="34" charset="0"/>
                        </a:defRPr>
                      </a:lvl2pPr>
                      <a:lvl3pPr marL="1143000" indent="-228600">
                        <a:spcAft>
                          <a:spcPts val="1000"/>
                        </a:spcAft>
                        <a:buSzPct val="100000"/>
                        <a:buFont typeface="Arial" panose="020B0604020202020204" pitchFamily="34" charset="0"/>
                        <a:defRPr sz="1000">
                          <a:solidFill>
                            <a:schemeClr val="tx1"/>
                          </a:solidFill>
                          <a:latin typeface="Verdana" panose="020B0604030504040204" pitchFamily="34" charset="0"/>
                        </a:defRPr>
                      </a:lvl3pPr>
                      <a:lvl4pPr marL="1600200" indent="-228600">
                        <a:spcAft>
                          <a:spcPts val="1000"/>
                        </a:spcAft>
                        <a:buSzPct val="100000"/>
                        <a:buFont typeface="Verdana" panose="020B0604030504040204" pitchFamily="34" charset="0"/>
                        <a:defRPr sz="1000">
                          <a:solidFill>
                            <a:schemeClr val="tx1"/>
                          </a:solidFill>
                          <a:latin typeface="Verdana" panose="020B0604030504040204" pitchFamily="34" charset="0"/>
                        </a:defRPr>
                      </a:lvl4pPr>
                      <a:lvl5pPr marL="2057400" indent="-228600" defTabSz="798513">
                        <a:spcAft>
                          <a:spcPts val="1000"/>
                        </a:spcAft>
                        <a:buSzPct val="100000"/>
                        <a:buFont typeface="Verdana" panose="020B0604030504040204" pitchFamily="34" charset="0"/>
                        <a:defRPr sz="1000">
                          <a:solidFill>
                            <a:schemeClr val="tx1"/>
                          </a:solidFill>
                          <a:latin typeface="Verdana" panose="020B0604030504040204" pitchFamily="34" charset="0"/>
                        </a:defRPr>
                      </a:lvl5pPr>
                      <a:lvl6pPr marL="25146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6pPr>
                      <a:lvl7pPr marL="29718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7pPr>
                      <a:lvl8pPr marL="34290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8pPr>
                      <a:lvl9pPr marL="38862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kern="1200" cap="none" normalizeH="0" baseline="0">
                          <a:ln>
                            <a:noFill/>
                          </a:ln>
                          <a:solidFill>
                            <a:schemeClr val="bg1"/>
                          </a:solidFill>
                          <a:effectLst/>
                          <a:latin typeface="+mn-lt"/>
                          <a:ea typeface="+mn-ea"/>
                          <a:cs typeface="+mn-cs"/>
                        </a:rPr>
                        <a:t>OLTP</a:t>
                      </a:r>
                    </a:p>
                  </a:txBody>
                  <a:tcPr marL="68724" marR="68724" marT="34290" marB="3429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a:spcAft>
                          <a:spcPts val="1000"/>
                        </a:spcAft>
                        <a:buSzPct val="100000"/>
                        <a:buFont typeface="Arial" panose="020B0604020202020204" pitchFamily="34" charset="0"/>
                        <a:defRPr sz="1000">
                          <a:solidFill>
                            <a:schemeClr val="tx1"/>
                          </a:solidFill>
                          <a:latin typeface="Verdana" panose="020B0604030504040204" pitchFamily="34" charset="0"/>
                        </a:defRPr>
                      </a:lvl1pPr>
                      <a:lvl2pPr marL="742950" indent="-285750">
                        <a:spcAft>
                          <a:spcPts val="1000"/>
                        </a:spcAft>
                        <a:buSzPct val="100000"/>
                        <a:buFont typeface="Arial" panose="020B0604020202020204" pitchFamily="34" charset="0"/>
                        <a:defRPr sz="1000" b="1">
                          <a:solidFill>
                            <a:schemeClr val="tx1"/>
                          </a:solidFill>
                          <a:latin typeface="Verdana" panose="020B0604030504040204" pitchFamily="34" charset="0"/>
                        </a:defRPr>
                      </a:lvl2pPr>
                      <a:lvl3pPr marL="1143000" indent="-228600">
                        <a:spcAft>
                          <a:spcPts val="1000"/>
                        </a:spcAft>
                        <a:buSzPct val="100000"/>
                        <a:buFont typeface="Arial" panose="020B0604020202020204" pitchFamily="34" charset="0"/>
                        <a:defRPr sz="1000">
                          <a:solidFill>
                            <a:schemeClr val="tx1"/>
                          </a:solidFill>
                          <a:latin typeface="Verdana" panose="020B0604030504040204" pitchFamily="34" charset="0"/>
                        </a:defRPr>
                      </a:lvl3pPr>
                      <a:lvl4pPr marL="1600200" indent="-228600">
                        <a:spcAft>
                          <a:spcPts val="1000"/>
                        </a:spcAft>
                        <a:buSzPct val="100000"/>
                        <a:buFont typeface="Verdana" panose="020B0604030504040204" pitchFamily="34" charset="0"/>
                        <a:defRPr sz="1000">
                          <a:solidFill>
                            <a:schemeClr val="tx1"/>
                          </a:solidFill>
                          <a:latin typeface="Verdana" panose="020B0604030504040204" pitchFamily="34" charset="0"/>
                        </a:defRPr>
                      </a:lvl4pPr>
                      <a:lvl5pPr marL="2057400" indent="-228600" defTabSz="798513">
                        <a:spcAft>
                          <a:spcPts val="1000"/>
                        </a:spcAft>
                        <a:buSzPct val="100000"/>
                        <a:buFont typeface="Verdana" panose="020B0604030504040204" pitchFamily="34" charset="0"/>
                        <a:defRPr sz="1000">
                          <a:solidFill>
                            <a:schemeClr val="tx1"/>
                          </a:solidFill>
                          <a:latin typeface="Verdana" panose="020B0604030504040204" pitchFamily="34" charset="0"/>
                        </a:defRPr>
                      </a:lvl5pPr>
                      <a:lvl6pPr marL="25146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6pPr>
                      <a:lvl7pPr marL="29718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7pPr>
                      <a:lvl8pPr marL="34290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8pPr>
                      <a:lvl9pPr marL="38862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kern="1200" cap="none" normalizeH="0" baseline="0">
                          <a:ln>
                            <a:noFill/>
                          </a:ln>
                          <a:solidFill>
                            <a:schemeClr val="bg1"/>
                          </a:solidFill>
                          <a:effectLst/>
                          <a:latin typeface="+mn-lt"/>
                          <a:ea typeface="+mn-ea"/>
                          <a:cs typeface="+mn-cs"/>
                        </a:rPr>
                        <a:t>WAREHOUSE (DSS)</a:t>
                      </a:r>
                    </a:p>
                  </a:txBody>
                  <a:tcPr marL="68724" marR="68724" marT="34290" marB="3429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3739131">
                <a:tc>
                  <a:txBody>
                    <a:bodyPr/>
                    <a:lstStyle>
                      <a:lvl1pPr>
                        <a:spcAft>
                          <a:spcPts val="1000"/>
                        </a:spcAft>
                        <a:buSzPct val="100000"/>
                        <a:buFont typeface="Arial" panose="020B0604020202020204" pitchFamily="34" charset="0"/>
                        <a:defRPr sz="1000">
                          <a:solidFill>
                            <a:schemeClr val="tx1"/>
                          </a:solidFill>
                          <a:latin typeface="Verdana" panose="020B0604030504040204" pitchFamily="34" charset="0"/>
                        </a:defRPr>
                      </a:lvl1pPr>
                      <a:lvl2pPr>
                        <a:spcAft>
                          <a:spcPts val="1000"/>
                        </a:spcAft>
                        <a:buSzPct val="100000"/>
                        <a:buFont typeface="Arial" panose="020B0604020202020204" pitchFamily="34" charset="0"/>
                        <a:defRPr sz="1000" b="1">
                          <a:solidFill>
                            <a:schemeClr val="tx1"/>
                          </a:solidFill>
                          <a:latin typeface="Verdana" panose="020B0604030504040204" pitchFamily="34" charset="0"/>
                        </a:defRPr>
                      </a:lvl2pPr>
                      <a:lvl3pPr marL="1143000" indent="-228600">
                        <a:spcAft>
                          <a:spcPts val="1000"/>
                        </a:spcAft>
                        <a:buSzPct val="100000"/>
                        <a:buFont typeface="Arial" panose="020B0604020202020204" pitchFamily="34" charset="0"/>
                        <a:defRPr sz="1000">
                          <a:solidFill>
                            <a:schemeClr val="tx1"/>
                          </a:solidFill>
                          <a:latin typeface="Verdana" panose="020B0604030504040204" pitchFamily="34" charset="0"/>
                        </a:defRPr>
                      </a:lvl3pPr>
                      <a:lvl4pPr marL="1600200" indent="-228600">
                        <a:spcAft>
                          <a:spcPts val="1000"/>
                        </a:spcAft>
                        <a:buSzPct val="100000"/>
                        <a:buFont typeface="Verdana" panose="020B0604030504040204" pitchFamily="34" charset="0"/>
                        <a:defRPr sz="1000">
                          <a:solidFill>
                            <a:schemeClr val="tx1"/>
                          </a:solidFill>
                          <a:latin typeface="Verdana" panose="020B0604030504040204" pitchFamily="34" charset="0"/>
                        </a:defRPr>
                      </a:lvl4pPr>
                      <a:lvl5pPr marL="2057400" indent="-228600" defTabSz="798513">
                        <a:spcAft>
                          <a:spcPts val="1000"/>
                        </a:spcAft>
                        <a:buSzPct val="100000"/>
                        <a:buFont typeface="Verdana" panose="020B0604030504040204" pitchFamily="34" charset="0"/>
                        <a:defRPr sz="1000">
                          <a:solidFill>
                            <a:schemeClr val="tx1"/>
                          </a:solidFill>
                          <a:latin typeface="Verdana" panose="020B0604030504040204" pitchFamily="34" charset="0"/>
                        </a:defRPr>
                      </a:lvl5pPr>
                      <a:lvl6pPr marL="25146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6pPr>
                      <a:lvl7pPr marL="29718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7pPr>
                      <a:lvl8pPr marL="34290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8pPr>
                      <a:lvl9pPr marL="38862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9pPr>
                    </a:lstStyle>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r>
                        <a:rPr kumimoji="0" lang="en-US" altLang="en-US" sz="1400" b="1" i="0" u="none" strike="noStrike" kern="1200" cap="none" normalizeH="0" baseline="0" dirty="0">
                          <a:ln>
                            <a:noFill/>
                          </a:ln>
                          <a:solidFill>
                            <a:srgbClr val="000000"/>
                          </a:solidFill>
                          <a:effectLst/>
                          <a:latin typeface="+mn-lt"/>
                          <a:ea typeface="+mn-ea"/>
                          <a:cs typeface="+mn-cs"/>
                        </a:rPr>
                        <a:t>Performance Sensitive</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endParaRPr kumimoji="0" lang="en-US" altLang="en-US" sz="1400" b="1" i="0" u="none" strike="noStrike" kern="1200" cap="none" normalizeH="0" baseline="0" dirty="0">
                        <a:ln>
                          <a:noFill/>
                        </a:ln>
                        <a:solidFill>
                          <a:srgbClr val="000000"/>
                        </a:solidFill>
                        <a:effectLst/>
                        <a:latin typeface="+mn-lt"/>
                        <a:ea typeface="+mn-ea"/>
                        <a:cs typeface="+mn-cs"/>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r>
                        <a:rPr kumimoji="0" lang="en-US" altLang="en-US" sz="1400" b="1" i="0" u="none" strike="noStrike" kern="1200" cap="none" normalizeH="0" baseline="0" dirty="0">
                          <a:ln>
                            <a:noFill/>
                          </a:ln>
                          <a:solidFill>
                            <a:srgbClr val="000000"/>
                          </a:solidFill>
                          <a:effectLst/>
                          <a:latin typeface="+mn-lt"/>
                          <a:ea typeface="+mn-ea"/>
                          <a:cs typeface="+mn-cs"/>
                        </a:rPr>
                        <a:t>Few Records accessed at a time (tens)</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endParaRPr kumimoji="0" lang="en-US" altLang="en-US" sz="1400" b="1" i="0" u="none" strike="noStrike" kern="1200" cap="none" normalizeH="0" baseline="0" dirty="0">
                        <a:ln>
                          <a:noFill/>
                        </a:ln>
                        <a:solidFill>
                          <a:srgbClr val="000000"/>
                        </a:solidFill>
                        <a:effectLst/>
                        <a:latin typeface="+mn-lt"/>
                        <a:ea typeface="+mn-ea"/>
                        <a:cs typeface="+mn-cs"/>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r>
                        <a:rPr kumimoji="0" lang="en-US" altLang="en-US" sz="1400" b="1" i="0" u="none" strike="noStrike" kern="1200" cap="none" normalizeH="0" baseline="0" dirty="0">
                          <a:ln>
                            <a:noFill/>
                          </a:ln>
                          <a:solidFill>
                            <a:srgbClr val="000000"/>
                          </a:solidFill>
                          <a:effectLst/>
                          <a:latin typeface="+mn-lt"/>
                          <a:ea typeface="+mn-ea"/>
                          <a:cs typeface="+mn-cs"/>
                        </a:rPr>
                        <a:t>Read/Update Access</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endParaRPr kumimoji="0" lang="en-US" altLang="en-US" sz="1400" b="1" i="0" u="none" strike="noStrike" kern="1200" cap="none" normalizeH="0" baseline="0" dirty="0">
                        <a:ln>
                          <a:noFill/>
                        </a:ln>
                        <a:solidFill>
                          <a:srgbClr val="000000"/>
                        </a:solidFill>
                        <a:effectLst/>
                        <a:latin typeface="+mn-lt"/>
                        <a:ea typeface="+mn-ea"/>
                        <a:cs typeface="+mn-cs"/>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r>
                        <a:rPr kumimoji="0" lang="en-US" altLang="en-US" sz="1400" b="1" i="0" u="none" strike="noStrike" kern="1200" cap="none" normalizeH="0" baseline="0" dirty="0">
                          <a:ln>
                            <a:noFill/>
                          </a:ln>
                          <a:solidFill>
                            <a:srgbClr val="000000"/>
                          </a:solidFill>
                          <a:effectLst/>
                          <a:latin typeface="+mn-lt"/>
                          <a:ea typeface="+mn-ea"/>
                          <a:cs typeface="+mn-cs"/>
                        </a:rPr>
                        <a:t>No data redundancy</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endParaRPr kumimoji="0" lang="en-US" altLang="en-US" sz="1400" b="1" i="0" u="none" strike="noStrike" kern="1200" cap="none" normalizeH="0" baseline="0" dirty="0">
                        <a:ln>
                          <a:noFill/>
                        </a:ln>
                        <a:solidFill>
                          <a:srgbClr val="000000"/>
                        </a:solidFill>
                        <a:effectLst/>
                        <a:latin typeface="+mn-lt"/>
                        <a:ea typeface="+mn-ea"/>
                        <a:cs typeface="+mn-cs"/>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r>
                        <a:rPr kumimoji="0" lang="en-US" altLang="en-US" sz="1400" b="1" i="0" u="none" strike="noStrike" kern="1200" cap="none" normalizeH="0" baseline="0" dirty="0">
                          <a:ln>
                            <a:noFill/>
                          </a:ln>
                          <a:solidFill>
                            <a:srgbClr val="000000"/>
                          </a:solidFill>
                          <a:effectLst/>
                          <a:latin typeface="+mn-lt"/>
                          <a:ea typeface="+mn-ea"/>
                          <a:cs typeface="+mn-cs"/>
                        </a:rPr>
                        <a:t>Database Size - Small</a:t>
                      </a:r>
                    </a:p>
                  </a:txBody>
                  <a:tcPr marL="68724" marR="68724" marT="34290" marB="3429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2D050"/>
                    </a:solidFill>
                  </a:tcPr>
                </a:tc>
                <a:tc>
                  <a:txBody>
                    <a:bodyPr/>
                    <a:lstStyle>
                      <a:lvl1pPr>
                        <a:spcAft>
                          <a:spcPts val="1000"/>
                        </a:spcAft>
                        <a:buSzPct val="100000"/>
                        <a:buFont typeface="Arial" panose="020B0604020202020204" pitchFamily="34" charset="0"/>
                        <a:defRPr sz="1000">
                          <a:solidFill>
                            <a:schemeClr val="tx1"/>
                          </a:solidFill>
                          <a:latin typeface="Verdana" panose="020B0604030504040204" pitchFamily="34" charset="0"/>
                        </a:defRPr>
                      </a:lvl1pPr>
                      <a:lvl2pPr>
                        <a:spcAft>
                          <a:spcPts val="1000"/>
                        </a:spcAft>
                        <a:buSzPct val="100000"/>
                        <a:buFont typeface="Arial" panose="020B0604020202020204" pitchFamily="34" charset="0"/>
                        <a:defRPr sz="1000" b="1">
                          <a:solidFill>
                            <a:schemeClr val="tx1"/>
                          </a:solidFill>
                          <a:latin typeface="Verdana" panose="020B0604030504040204" pitchFamily="34" charset="0"/>
                        </a:defRPr>
                      </a:lvl2pPr>
                      <a:lvl3pPr marL="1143000" indent="-228600">
                        <a:spcAft>
                          <a:spcPts val="1000"/>
                        </a:spcAft>
                        <a:buSzPct val="100000"/>
                        <a:buFont typeface="Arial" panose="020B0604020202020204" pitchFamily="34" charset="0"/>
                        <a:defRPr sz="1000">
                          <a:solidFill>
                            <a:schemeClr val="tx1"/>
                          </a:solidFill>
                          <a:latin typeface="Verdana" panose="020B0604030504040204" pitchFamily="34" charset="0"/>
                        </a:defRPr>
                      </a:lvl3pPr>
                      <a:lvl4pPr marL="1600200" indent="-228600">
                        <a:spcAft>
                          <a:spcPts val="1000"/>
                        </a:spcAft>
                        <a:buSzPct val="100000"/>
                        <a:buFont typeface="Verdana" panose="020B0604030504040204" pitchFamily="34" charset="0"/>
                        <a:defRPr sz="1000">
                          <a:solidFill>
                            <a:schemeClr val="tx1"/>
                          </a:solidFill>
                          <a:latin typeface="Verdana" panose="020B0604030504040204" pitchFamily="34" charset="0"/>
                        </a:defRPr>
                      </a:lvl4pPr>
                      <a:lvl5pPr marL="2057400" indent="-228600" defTabSz="798513">
                        <a:spcAft>
                          <a:spcPts val="1000"/>
                        </a:spcAft>
                        <a:buSzPct val="100000"/>
                        <a:buFont typeface="Verdana" panose="020B0604030504040204" pitchFamily="34" charset="0"/>
                        <a:defRPr sz="1000">
                          <a:solidFill>
                            <a:schemeClr val="tx1"/>
                          </a:solidFill>
                          <a:latin typeface="Verdana" panose="020B0604030504040204" pitchFamily="34" charset="0"/>
                        </a:defRPr>
                      </a:lvl5pPr>
                      <a:lvl6pPr marL="25146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6pPr>
                      <a:lvl7pPr marL="29718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7pPr>
                      <a:lvl8pPr marL="34290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8pPr>
                      <a:lvl9pPr marL="3886200" indent="-228600" defTabSz="798513" fontAlgn="base">
                        <a:spcBef>
                          <a:spcPct val="0"/>
                        </a:spcBef>
                        <a:spcAft>
                          <a:spcPts val="1000"/>
                        </a:spcAft>
                        <a:buSzPct val="100000"/>
                        <a:buFont typeface="Verdana" panose="020B0604030504040204" pitchFamily="34" charset="0"/>
                        <a:defRPr sz="1000">
                          <a:solidFill>
                            <a:schemeClr val="tx1"/>
                          </a:solidFill>
                          <a:latin typeface="Verdana" panose="020B0604030504040204" pitchFamily="34" charset="0"/>
                        </a:defRPr>
                      </a:lvl9pPr>
                    </a:lstStyle>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r>
                        <a:rPr kumimoji="0" lang="en-US" altLang="en-US" sz="1400" b="1" i="0" u="none" strike="noStrike" kern="1200" cap="none" normalizeH="0" baseline="0" dirty="0">
                          <a:ln>
                            <a:noFill/>
                          </a:ln>
                          <a:solidFill>
                            <a:srgbClr val="000000"/>
                          </a:solidFill>
                          <a:effectLst/>
                          <a:latin typeface="+mn-lt"/>
                          <a:ea typeface="+mn-ea"/>
                          <a:cs typeface="+mn-cs"/>
                        </a:rPr>
                        <a:t>Performance relaxed</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endParaRPr kumimoji="0" lang="en-US" altLang="en-US" sz="1400" b="1" i="0" u="none" strike="noStrike" kern="1200" cap="none" normalizeH="0" baseline="0" dirty="0">
                        <a:ln>
                          <a:noFill/>
                        </a:ln>
                        <a:solidFill>
                          <a:srgbClr val="000000"/>
                        </a:solidFill>
                        <a:effectLst/>
                        <a:latin typeface="+mn-lt"/>
                        <a:ea typeface="+mn-ea"/>
                        <a:cs typeface="+mn-cs"/>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r>
                        <a:rPr kumimoji="0" lang="en-US" altLang="en-US" sz="1400" b="1" i="0" u="none" strike="noStrike" kern="1200" cap="none" normalizeH="0" baseline="0" dirty="0">
                          <a:ln>
                            <a:noFill/>
                          </a:ln>
                          <a:solidFill>
                            <a:srgbClr val="000000"/>
                          </a:solidFill>
                          <a:effectLst/>
                          <a:latin typeface="+mn-lt"/>
                          <a:ea typeface="+mn-ea"/>
                          <a:cs typeface="+mn-cs"/>
                        </a:rPr>
                        <a:t>Large volumes accessed at a time(millions)</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endParaRPr kumimoji="0" lang="en-US" altLang="en-US" sz="1400" b="1" i="0" u="none" strike="noStrike" kern="1200" cap="none" normalizeH="0" baseline="0" dirty="0">
                        <a:ln>
                          <a:noFill/>
                        </a:ln>
                        <a:solidFill>
                          <a:srgbClr val="000000"/>
                        </a:solidFill>
                        <a:effectLst/>
                        <a:latin typeface="+mn-lt"/>
                        <a:ea typeface="+mn-ea"/>
                        <a:cs typeface="+mn-cs"/>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r>
                        <a:rPr kumimoji="0" lang="en-US" altLang="en-US" sz="1400" b="1" i="0" u="none" strike="noStrike" kern="1200" cap="none" normalizeH="0" baseline="0" dirty="0">
                          <a:ln>
                            <a:noFill/>
                          </a:ln>
                          <a:solidFill>
                            <a:srgbClr val="000000"/>
                          </a:solidFill>
                          <a:effectLst/>
                          <a:latin typeface="+mn-lt"/>
                          <a:ea typeface="+mn-ea"/>
                          <a:cs typeface="+mn-cs"/>
                        </a:rPr>
                        <a:t>Mostly Read (Batch Update)</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endParaRPr kumimoji="0" lang="en-US" altLang="en-US" sz="1400" b="1" i="0" u="none" strike="noStrike" kern="1200" cap="none" normalizeH="0" baseline="0" dirty="0">
                        <a:ln>
                          <a:noFill/>
                        </a:ln>
                        <a:solidFill>
                          <a:srgbClr val="000000"/>
                        </a:solidFill>
                        <a:effectLst/>
                        <a:latin typeface="+mn-lt"/>
                        <a:ea typeface="+mn-ea"/>
                        <a:cs typeface="+mn-cs"/>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r>
                        <a:rPr kumimoji="0" lang="en-US" altLang="en-US" sz="1400" b="1" i="0" u="none" strike="noStrike" kern="1200" cap="none" normalizeH="0" baseline="0" dirty="0">
                          <a:ln>
                            <a:noFill/>
                          </a:ln>
                          <a:solidFill>
                            <a:srgbClr val="000000"/>
                          </a:solidFill>
                          <a:effectLst/>
                          <a:latin typeface="+mn-lt"/>
                          <a:ea typeface="+mn-ea"/>
                          <a:cs typeface="+mn-cs"/>
                        </a:rPr>
                        <a:t>Redundancy present</a:t>
                      </a: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endParaRPr kumimoji="0" lang="en-US" altLang="en-US" sz="1400" b="1" i="0" u="none" strike="noStrike" kern="1200" cap="none" normalizeH="0" baseline="0" dirty="0">
                        <a:ln>
                          <a:noFill/>
                        </a:ln>
                        <a:solidFill>
                          <a:srgbClr val="000000"/>
                        </a:solidFill>
                        <a:effectLst/>
                        <a:latin typeface="+mn-lt"/>
                        <a:ea typeface="+mn-ea"/>
                        <a:cs typeface="+mn-cs"/>
                      </a:endParaRPr>
                    </a:p>
                    <a:p>
                      <a:pPr marL="800100" marR="0" lvl="1" indent="-342900" algn="l" defTabSz="914400" rtl="0" eaLnBrk="1" fontAlgn="base" latinLnBrk="0" hangingPunct="1">
                        <a:lnSpc>
                          <a:spcPct val="100000"/>
                        </a:lnSpc>
                        <a:spcBef>
                          <a:spcPct val="0"/>
                        </a:spcBef>
                        <a:spcAft>
                          <a:spcPct val="0"/>
                        </a:spcAft>
                        <a:buClrTx/>
                        <a:buSzTx/>
                        <a:buFont typeface="+mj-lt"/>
                        <a:buAutoNum type="arabicPeriod" startAt="8"/>
                        <a:tabLst/>
                      </a:pPr>
                      <a:r>
                        <a:rPr kumimoji="0" lang="en-US" altLang="en-US" sz="1400" b="1" i="0" u="none" strike="noStrike" kern="1200" cap="none" normalizeH="0" baseline="0" dirty="0">
                          <a:ln>
                            <a:noFill/>
                          </a:ln>
                          <a:solidFill>
                            <a:srgbClr val="000000"/>
                          </a:solidFill>
                          <a:effectLst/>
                          <a:latin typeface="+mn-lt"/>
                          <a:ea typeface="+mn-ea"/>
                          <a:cs typeface="+mn-cs"/>
                        </a:rPr>
                        <a:t>Database Size- Large</a:t>
                      </a:r>
                      <a:endParaRPr kumimoji="0" lang="en-GB" altLang="en-US" sz="1400" b="1" i="0" u="none" strike="noStrike" kern="1200" cap="none" normalizeH="0" baseline="0" dirty="0">
                        <a:ln>
                          <a:noFill/>
                        </a:ln>
                        <a:solidFill>
                          <a:srgbClr val="000000"/>
                        </a:solidFill>
                        <a:effectLst/>
                        <a:latin typeface="+mn-lt"/>
                        <a:ea typeface="+mn-ea"/>
                        <a:cs typeface="+mn-cs"/>
                      </a:endParaRPr>
                    </a:p>
                  </a:txBody>
                  <a:tcPr marL="68724" marR="68724" marT="34290" marB="3429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1"/>
                  </a:ext>
                </a:extLst>
              </a:tr>
            </a:tbl>
          </a:graphicData>
        </a:graphic>
      </p:graphicFrame>
      <p:pic>
        <p:nvPicPr>
          <p:cNvPr id="5" name="DeloitteW">
            <a:extLst>
              <a:ext uri="{FF2B5EF4-FFF2-40B4-BE49-F238E27FC236}">
                <a16:creationId xmlns:a16="http://schemas.microsoft.com/office/drawing/2014/main" id="{37C2BCA4-6737-4B6C-AAA8-3DFD39C9BE75}"/>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7162800" y="6299698"/>
            <a:ext cx="1591952" cy="373635"/>
          </a:xfrm>
          <a:prstGeom prst="rect">
            <a:avLst/>
          </a:prstGeom>
        </p:spPr>
      </p:pic>
    </p:spTree>
    <p:extLst>
      <p:ext uri="{BB962C8B-B14F-4D97-AF65-F5344CB8AC3E}">
        <p14:creationId xmlns:p14="http://schemas.microsoft.com/office/powerpoint/2010/main" val="40251943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PPT Template_new.">
  <a:themeElements>
    <a:clrScheme name="Corporate PPT Template_ne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orporate PPT Template_new.">
      <a:majorFont>
        <a:latin typeface="Myriad Pro"/>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Arial" charset="0"/>
          </a:defRPr>
        </a:defPPr>
      </a:lstStyle>
    </a:lnDef>
  </a:objectDefaults>
  <a:extraClrSchemeLst>
    <a:extraClrScheme>
      <a:clrScheme name="Corporate PPT Template_ne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rporate PPT Template_new.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rporate PPT Template_new.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rporate PPT Template_new.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rporate PPT Template_new.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rporate PPT Template_new.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rporate PPT Template_new.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rporate PPT Template_new.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rporate PPT Template_new.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rporate PPT Template_new.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rporate PPT Template_new.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rporate PPT Template_new.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71</TotalTime>
  <Words>2554</Words>
  <Application>Microsoft Office PowerPoint</Application>
  <PresentationFormat>On-screen Show (4:3)</PresentationFormat>
  <Paragraphs>460</Paragraphs>
  <Slides>39</Slides>
  <Notes>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2" baseType="lpstr">
      <vt:lpstr>Arial</vt:lpstr>
      <vt:lpstr>Arial</vt:lpstr>
      <vt:lpstr>Calibri</vt:lpstr>
      <vt:lpstr>Garamond</vt:lpstr>
      <vt:lpstr>Myriad Pro</vt:lpstr>
      <vt:lpstr>Times New Roman</vt:lpstr>
      <vt:lpstr>Trebuchet MS</vt:lpstr>
      <vt:lpstr>Verdana</vt:lpstr>
      <vt:lpstr>Wingdings</vt:lpstr>
      <vt:lpstr>Wingdings 2</vt:lpstr>
      <vt:lpstr>Corporate PPT Template_new.</vt:lpstr>
      <vt:lpstr>1_Deloitte 16_9 onscreen</vt:lpstr>
      <vt:lpstr>think-cell Slide</vt:lpstr>
      <vt:lpstr>PowerPoint Presentation</vt:lpstr>
      <vt:lpstr>PowerPoint Presentation</vt:lpstr>
      <vt:lpstr>What is a Data Warehouse ?</vt:lpstr>
      <vt:lpstr>Subject-Oriented</vt:lpstr>
      <vt:lpstr>Time-Variant</vt:lpstr>
      <vt:lpstr>Need for Data Warehousing</vt:lpstr>
      <vt:lpstr>12 Rules of a Data Warehouse</vt:lpstr>
      <vt:lpstr>OLTP vs Data Warehouse</vt:lpstr>
      <vt:lpstr>OLTP vs Data Warehouse</vt:lpstr>
      <vt:lpstr>Complete Data Warehouse Architecture Solution</vt:lpstr>
      <vt:lpstr>OLAP</vt:lpstr>
      <vt:lpstr>OLAP</vt:lpstr>
      <vt:lpstr>OLAP Architecture</vt:lpstr>
      <vt:lpstr>PowerPoint Presentation</vt:lpstr>
      <vt:lpstr>Data Marts</vt:lpstr>
      <vt:lpstr>PowerPoint Presentation</vt:lpstr>
      <vt:lpstr>Data Mining</vt:lpstr>
      <vt:lpstr>4 Phases of Data Mining</vt:lpstr>
      <vt:lpstr>PowerPoint Presentation</vt:lpstr>
      <vt:lpstr>Extraction of Knowledge from Data – Building Insights</vt:lpstr>
      <vt:lpstr>PowerPoint Presentation</vt:lpstr>
      <vt:lpstr>PowerPoint Presentation</vt:lpstr>
      <vt:lpstr>PowerPoint Presentation</vt:lpstr>
      <vt:lpstr>Facts</vt:lpstr>
      <vt:lpstr>PowerPoint Presentation</vt:lpstr>
      <vt:lpstr>Dimensions</vt:lpstr>
      <vt:lpstr>PowerPoint Presentation</vt:lpstr>
      <vt:lpstr>PowerPoint Presentation</vt:lpstr>
      <vt:lpstr>PowerPoint Presentation</vt:lpstr>
      <vt:lpstr>PowerPoint Presentation</vt:lpstr>
      <vt:lpstr>Slowly Changing Dimensions Type 1</vt:lpstr>
      <vt:lpstr>Slowly Changing Dimensions Type 2</vt:lpstr>
      <vt:lpstr>Slowly Changing Dimensions Type 3</vt:lpstr>
      <vt:lpstr>ETL – Extract, Transform and Load</vt:lpstr>
      <vt:lpstr>Extraction</vt:lpstr>
      <vt:lpstr>Transform</vt:lpstr>
      <vt:lpstr>Load</vt:lpstr>
      <vt:lpstr>Importance of ETL</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Warehouse – Basics</dc:title>
  <dc:creator>Dheepika</dc:creator>
  <cp:lastModifiedBy>Damodhar, Jangam</cp:lastModifiedBy>
  <cp:revision>50</cp:revision>
  <dcterms:created xsi:type="dcterms:W3CDTF">2013-11-25T18:07:16Z</dcterms:created>
  <dcterms:modified xsi:type="dcterms:W3CDTF">2023-10-28T20:1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1-21T07:39: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04e3d74-9fbc-4eda-9a2a-af39412d30e9</vt:lpwstr>
  </property>
  <property fmtid="{D5CDD505-2E9C-101B-9397-08002B2CF9AE}" pid="8" name="MSIP_Label_ea60d57e-af5b-4752-ac57-3e4f28ca11dc_ContentBits">
    <vt:lpwstr>0</vt:lpwstr>
  </property>
</Properties>
</file>